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3" r:id="rId4"/>
    <p:sldMasterId id="2147483924" r:id="rId5"/>
  </p:sldMasterIdLst>
  <p:notesMasterIdLst>
    <p:notesMasterId r:id="rId13"/>
  </p:notesMasterIdLst>
  <p:handoutMasterIdLst>
    <p:handoutMasterId r:id="rId14"/>
  </p:handoutMasterIdLst>
  <p:sldIdLst>
    <p:sldId id="2134804574" r:id="rId6"/>
    <p:sldId id="2134804576" r:id="rId7"/>
    <p:sldId id="2134804575" r:id="rId8"/>
    <p:sldId id="2134804578" r:id="rId9"/>
    <p:sldId id="2134804579" r:id="rId10"/>
    <p:sldId id="2134804580" r:id="rId11"/>
    <p:sldId id="2134804577" r:id="rId12"/>
  </p:sldIdLst>
  <p:sldSz cx="9144000" cy="5143500" type="screen16x9"/>
  <p:notesSz cx="6797675" cy="9926638"/>
  <p:defaultTextStyle>
    <a:defPPr>
      <a:defRPr lang="zh-TW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2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CCECFF"/>
    <a:srgbClr val="CCFFFF"/>
    <a:srgbClr val="4F2270"/>
    <a:srgbClr val="FFFFCC"/>
    <a:srgbClr val="FF00FF"/>
    <a:srgbClr val="008000"/>
    <a:srgbClr val="00518E"/>
    <a:srgbClr val="CCFF99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DDBB0A-883B-4C6B-93CD-2D3BCEC81C27}" v="18" dt="2020-06-16T02:55:22.2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等深淺樣式 2 - 輔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淺色樣式 2 - 輔色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E171933-4619-4E11-9A3F-F7608DF75F80}" styleName="中等深淺樣式 1 - 輔色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中等深淺樣式 1 - 輔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淺色樣式 2 - 輔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淺色樣式 1 - 輔色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D083AE6-46FA-4A59-8FB0-9F97EB10719F}" styleName="淺色樣式 3 - 輔色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16DA210-FB5B-4158-B5E0-FEB733F419BA}" styleName="淺色樣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淺色樣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27" autoAdjust="0"/>
    <p:restoredTop sz="94651" autoAdjust="0"/>
  </p:normalViewPr>
  <p:slideViewPr>
    <p:cSldViewPr>
      <p:cViewPr varScale="1">
        <p:scale>
          <a:sx n="156" d="100"/>
          <a:sy n="156" d="100"/>
        </p:scale>
        <p:origin x="756" y="88"/>
      </p:cViewPr>
      <p:guideLst>
        <p:guide orient="horz" pos="1620"/>
        <p:guide pos="2208"/>
      </p:guideLst>
    </p:cSldViewPr>
  </p:slideViewPr>
  <p:outlineViewPr>
    <p:cViewPr>
      <p:scale>
        <a:sx n="50" d="100"/>
        <a:sy n="50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" d="1"/>
        <a:sy n="1" d="1"/>
      </p:scale>
      <p:origin x="0" y="-508"/>
    </p:cViewPr>
  </p:sorterViewPr>
  <p:notesViewPr>
    <p:cSldViewPr>
      <p:cViewPr varScale="1">
        <p:scale>
          <a:sx n="45" d="100"/>
          <a:sy n="45" d="100"/>
        </p:scale>
        <p:origin x="2766" y="18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iagrams/_rels/data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image" Target="../media/image16.png"/></Relationships>
</file>

<file path=ppt/diagrams/_rels/drawing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image" Target="../media/image1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A0258E-AFC0-4FA0-A217-2A1E1ABE334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9D7EA7D-76D9-4A67-9D2A-8F63251E8068}">
      <dgm:prSet phldrT="[文字]" custT="1"/>
      <dgm:spPr/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739A6A4-A9A8-4CB2-89D3-666FFB13C7F1}" type="parTrans" cxnId="{4A737B81-FEC1-4E6F-91EB-85B0D8B924E6}">
      <dgm:prSet/>
      <dgm:spPr/>
      <dgm:t>
        <a:bodyPr/>
        <a:lstStyle/>
        <a:p>
          <a:endParaRPr lang="zh-TW" altLang="en-US"/>
        </a:p>
      </dgm:t>
    </dgm:pt>
    <dgm:pt modelId="{4511E432-67FB-4292-AB3B-91480154A22A}" type="sibTrans" cxnId="{4A737B81-FEC1-4E6F-91EB-85B0D8B924E6}">
      <dgm:prSet/>
      <dgm:spPr/>
      <dgm:t>
        <a:bodyPr/>
        <a:lstStyle/>
        <a:p>
          <a:endParaRPr lang="zh-TW" altLang="en-US"/>
        </a:p>
      </dgm:t>
    </dgm:pt>
    <dgm:pt modelId="{9357530B-A62A-482D-9C6F-55B27483734B}">
      <dgm:prSet phldrT="[文字]" custT="1"/>
      <dgm:spPr/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F7E8F74-15B1-437E-8186-BFAEA7803CB3}" type="parTrans" cxnId="{4E0EA89A-0F12-4D4D-86E2-2486393B5A16}">
      <dgm:prSet/>
      <dgm:spPr/>
      <dgm:t>
        <a:bodyPr/>
        <a:lstStyle/>
        <a:p>
          <a:endParaRPr lang="zh-TW" altLang="en-US"/>
        </a:p>
      </dgm:t>
    </dgm:pt>
    <dgm:pt modelId="{86994E15-0FDA-406B-8DFF-2E30483E78A7}" type="sibTrans" cxnId="{4E0EA89A-0F12-4D4D-86E2-2486393B5A16}">
      <dgm:prSet/>
      <dgm:spPr/>
      <dgm:t>
        <a:bodyPr/>
        <a:lstStyle/>
        <a:p>
          <a:endParaRPr lang="zh-TW" altLang="en-US"/>
        </a:p>
      </dgm:t>
    </dgm:pt>
    <dgm:pt modelId="{87F2ADF5-0DBB-4210-B960-0439E763EB18}">
      <dgm:prSet phldrT="[文字]" custT="1"/>
      <dgm:spPr/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1B2C6BB-529F-44CF-9DD6-49B9B30E1B32}" type="parTrans" cxnId="{E6B11DF3-8090-4A34-B501-11E9C31A465B}">
      <dgm:prSet/>
      <dgm:spPr/>
      <dgm:t>
        <a:bodyPr/>
        <a:lstStyle/>
        <a:p>
          <a:endParaRPr lang="zh-TW" altLang="en-US"/>
        </a:p>
      </dgm:t>
    </dgm:pt>
    <dgm:pt modelId="{9D32066C-CAF1-4DE8-8E0B-C8F4A18C2220}" type="sibTrans" cxnId="{E6B11DF3-8090-4A34-B501-11E9C31A465B}">
      <dgm:prSet/>
      <dgm:spPr/>
      <dgm:t>
        <a:bodyPr/>
        <a:lstStyle/>
        <a:p>
          <a:endParaRPr lang="zh-TW" altLang="en-US"/>
        </a:p>
      </dgm:t>
    </dgm:pt>
    <dgm:pt modelId="{3F9025C4-8BEE-4852-A05A-C9A6D7A66AC8}">
      <dgm:prSet phldrT="[文字]" custT="1"/>
      <dgm:spPr/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1997477-8E91-47F5-8B61-EFAE5BBDF274}" type="parTrans" cxnId="{42D3CE37-56E2-483D-851D-98158C8B7DA1}">
      <dgm:prSet/>
      <dgm:spPr/>
      <dgm:t>
        <a:bodyPr/>
        <a:lstStyle/>
        <a:p>
          <a:endParaRPr lang="zh-TW" altLang="en-US"/>
        </a:p>
      </dgm:t>
    </dgm:pt>
    <dgm:pt modelId="{D912D297-B68E-419B-9CF5-E50D31991ADD}" type="sibTrans" cxnId="{42D3CE37-56E2-483D-851D-98158C8B7DA1}">
      <dgm:prSet/>
      <dgm:spPr/>
      <dgm:t>
        <a:bodyPr/>
        <a:lstStyle/>
        <a:p>
          <a:endParaRPr lang="zh-TW" altLang="en-US"/>
        </a:p>
      </dgm:t>
    </dgm:pt>
    <dgm:pt modelId="{15B80B44-D78C-49E6-96D7-C97BF8DB0BD3}">
      <dgm:prSet phldrT="[文字]" custT="1"/>
      <dgm:spPr/>
      <dgm:t>
        <a:bodyPr/>
        <a:lstStyle/>
        <a:p>
          <a:r>
            <a:rPr lang="en-US" sz="900" b="0" i="0" u="none" strike="noStrike" dirty="0" smtClean="0">
              <a:solidFill>
                <a:srgbClr val="0000FF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rgbClr val="0000FF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408D91A-B1FF-494D-B119-3E14BAF0858F}" type="parTrans" cxnId="{2396D42F-4FD3-43D7-814B-C021CBC9D354}">
      <dgm:prSet/>
      <dgm:spPr/>
      <dgm:t>
        <a:bodyPr/>
        <a:lstStyle/>
        <a:p>
          <a:endParaRPr lang="zh-TW" altLang="en-US"/>
        </a:p>
      </dgm:t>
    </dgm:pt>
    <dgm:pt modelId="{B9CCE13A-5496-4CD1-9606-E35D8DC5A481}" type="sibTrans" cxnId="{2396D42F-4FD3-43D7-814B-C021CBC9D354}">
      <dgm:prSet/>
      <dgm:spPr/>
      <dgm:t>
        <a:bodyPr/>
        <a:lstStyle/>
        <a:p>
          <a:endParaRPr lang="zh-TW" altLang="en-US"/>
        </a:p>
      </dgm:t>
    </dgm:pt>
    <dgm:pt modelId="{F0B4F98B-7CF5-41D1-B021-1AFFDD5D4EBD}">
      <dgm:prSet phldrT="[文字]" custT="1"/>
      <dgm:spPr/>
      <dgm:t>
        <a:bodyPr/>
        <a:lstStyle/>
        <a:p>
          <a:r>
            <a:rPr lang="en-US" altLang="zh-TW" sz="900" dirty="0" smtClean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EDB3F0C-1AB7-4D02-AE2C-C05B03886FC4}" type="parTrans" cxnId="{D1A1E0D5-BD21-4F30-91EA-C7986BE840B0}">
      <dgm:prSet/>
      <dgm:spPr/>
      <dgm:t>
        <a:bodyPr/>
        <a:lstStyle/>
        <a:p>
          <a:endParaRPr lang="zh-TW" altLang="en-US"/>
        </a:p>
      </dgm:t>
    </dgm:pt>
    <dgm:pt modelId="{636F7653-5E0B-4F1C-9930-21FE5006833C}" type="sibTrans" cxnId="{D1A1E0D5-BD21-4F30-91EA-C7986BE840B0}">
      <dgm:prSet/>
      <dgm:spPr/>
      <dgm:t>
        <a:bodyPr/>
        <a:lstStyle/>
        <a:p>
          <a:endParaRPr lang="zh-TW" altLang="en-US"/>
        </a:p>
      </dgm:t>
    </dgm:pt>
    <dgm:pt modelId="{48F13520-B730-42AA-BBFC-0E2815BBCDBC}">
      <dgm:prSet phldrT="[文字]" custT="1"/>
      <dgm:spPr/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9A924C7-F69A-4BB5-9395-B5999CE5B333}" type="parTrans" cxnId="{F397A4A3-AD6E-4DF2-B8B5-A9A2715EE357}">
      <dgm:prSet/>
      <dgm:spPr/>
      <dgm:t>
        <a:bodyPr/>
        <a:lstStyle/>
        <a:p>
          <a:endParaRPr lang="zh-TW" altLang="en-US"/>
        </a:p>
      </dgm:t>
    </dgm:pt>
    <dgm:pt modelId="{A9B81460-30B5-4629-88B4-E6AB459DD30E}" type="sibTrans" cxnId="{F397A4A3-AD6E-4DF2-B8B5-A9A2715EE357}">
      <dgm:prSet/>
      <dgm:spPr/>
      <dgm:t>
        <a:bodyPr/>
        <a:lstStyle/>
        <a:p>
          <a:endParaRPr lang="zh-TW" altLang="en-US"/>
        </a:p>
      </dgm:t>
    </dgm:pt>
    <dgm:pt modelId="{F4EAAB0F-77A3-4730-822B-5C073C5F7FB5}" type="pres">
      <dgm:prSet presAssocID="{FCA0258E-AFC0-4FA0-A217-2A1E1ABE334A}" presName="Name0" presStyleCnt="0">
        <dgm:presLayoutVars>
          <dgm:dir/>
          <dgm:animLvl val="lvl"/>
          <dgm:resizeHandles val="exact"/>
        </dgm:presLayoutVars>
      </dgm:prSet>
      <dgm:spPr/>
    </dgm:pt>
    <dgm:pt modelId="{7A2CBF99-D0CA-449D-8DDC-6CCC2E5AD635}" type="pres">
      <dgm:prSet presAssocID="{59D7EA7D-76D9-4A67-9D2A-8F63251E8068}" presName="parTxOnly" presStyleLbl="node1" presStyleIdx="0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149F7A70-04C4-433E-AE2F-8D8A03EBCC94}" type="pres">
      <dgm:prSet presAssocID="{4511E432-67FB-4292-AB3B-91480154A22A}" presName="parTxOnlySpace" presStyleCnt="0"/>
      <dgm:spPr/>
    </dgm:pt>
    <dgm:pt modelId="{6090789B-9A6B-41A0-BDA2-D1BBDE630F96}" type="pres">
      <dgm:prSet presAssocID="{9357530B-A62A-482D-9C6F-55B27483734B}" presName="parTxOnly" presStyleLbl="node1" presStyleIdx="1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C6B02AA8-FCE2-4F9A-814F-727F24C48B69}" type="pres">
      <dgm:prSet presAssocID="{86994E15-0FDA-406B-8DFF-2E30483E78A7}" presName="parTxOnlySpace" presStyleCnt="0"/>
      <dgm:spPr/>
    </dgm:pt>
    <dgm:pt modelId="{263D6CFA-9500-4493-BC13-4F93E2578FC6}" type="pres">
      <dgm:prSet presAssocID="{87F2ADF5-0DBB-4210-B960-0439E763EB18}" presName="parTxOnly" presStyleLbl="node1" presStyleIdx="2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F12BCF08-BD67-4640-B13C-A40B6767B080}" type="pres">
      <dgm:prSet presAssocID="{9D32066C-CAF1-4DE8-8E0B-C8F4A18C2220}" presName="parTxOnlySpace" presStyleCnt="0"/>
      <dgm:spPr/>
    </dgm:pt>
    <dgm:pt modelId="{5F42E851-0E2D-4A7C-8B67-8FA050D06139}" type="pres">
      <dgm:prSet presAssocID="{3F9025C4-8BEE-4852-A05A-C9A6D7A66AC8}" presName="parTxOnly" presStyleLbl="node1" presStyleIdx="3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EF7CF84D-5F40-4721-AFDD-B57825159654}" type="pres">
      <dgm:prSet presAssocID="{D912D297-B68E-419B-9CF5-E50D31991ADD}" presName="parTxOnlySpace" presStyleCnt="0"/>
      <dgm:spPr/>
    </dgm:pt>
    <dgm:pt modelId="{F20428E3-C47F-4E34-B3F9-DB08C681A934}" type="pres">
      <dgm:prSet presAssocID="{15B80B44-D78C-49E6-96D7-C97BF8DB0BD3}" presName="parTxOnly" presStyleLbl="node1" presStyleIdx="4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07AADA55-9591-432C-84B3-1120533214AD}" type="pres">
      <dgm:prSet presAssocID="{B9CCE13A-5496-4CD1-9606-E35D8DC5A481}" presName="parTxOnlySpace" presStyleCnt="0"/>
      <dgm:spPr/>
    </dgm:pt>
    <dgm:pt modelId="{C5B3F856-D2E0-4E89-A246-619C14866B4A}" type="pres">
      <dgm:prSet presAssocID="{F0B4F98B-7CF5-41D1-B021-1AFFDD5D4EBD}" presName="parTxOnly" presStyleLbl="node1" presStyleIdx="5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2C827037-DF22-4AD3-B2DB-F80A61C4E1D2}" type="pres">
      <dgm:prSet presAssocID="{636F7653-5E0B-4F1C-9930-21FE5006833C}" presName="parTxOnlySpace" presStyleCnt="0"/>
      <dgm:spPr/>
    </dgm:pt>
    <dgm:pt modelId="{8C011383-88CC-4EC9-A47B-C3959D98D6B4}" type="pres">
      <dgm:prSet presAssocID="{48F13520-B730-42AA-BBFC-0E2815BBCDBC}" presName="parTxOnly" presStyleLbl="node1" presStyleIdx="6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</dgm:ptLst>
  <dgm:cxnLst>
    <dgm:cxn modelId="{F397A4A3-AD6E-4DF2-B8B5-A9A2715EE357}" srcId="{FCA0258E-AFC0-4FA0-A217-2A1E1ABE334A}" destId="{48F13520-B730-42AA-BBFC-0E2815BBCDBC}" srcOrd="6" destOrd="0" parTransId="{29A924C7-F69A-4BB5-9395-B5999CE5B333}" sibTransId="{A9B81460-30B5-4629-88B4-E6AB459DD30E}"/>
    <dgm:cxn modelId="{42D3CE37-56E2-483D-851D-98158C8B7DA1}" srcId="{FCA0258E-AFC0-4FA0-A217-2A1E1ABE334A}" destId="{3F9025C4-8BEE-4852-A05A-C9A6D7A66AC8}" srcOrd="3" destOrd="0" parTransId="{C1997477-8E91-47F5-8B61-EFAE5BBDF274}" sibTransId="{D912D297-B68E-419B-9CF5-E50D31991ADD}"/>
    <dgm:cxn modelId="{4A737B81-FEC1-4E6F-91EB-85B0D8B924E6}" srcId="{FCA0258E-AFC0-4FA0-A217-2A1E1ABE334A}" destId="{59D7EA7D-76D9-4A67-9D2A-8F63251E8068}" srcOrd="0" destOrd="0" parTransId="{2739A6A4-A9A8-4CB2-89D3-666FFB13C7F1}" sibTransId="{4511E432-67FB-4292-AB3B-91480154A22A}"/>
    <dgm:cxn modelId="{34790BB6-AB69-4FFA-A269-89242CE1B102}" type="presOf" srcId="{59D7EA7D-76D9-4A67-9D2A-8F63251E8068}" destId="{7A2CBF99-D0CA-449D-8DDC-6CCC2E5AD635}" srcOrd="0" destOrd="0" presId="urn:microsoft.com/office/officeart/2005/8/layout/chevron1"/>
    <dgm:cxn modelId="{2E324DCE-59AC-48C9-8B92-91A89136777D}" type="presOf" srcId="{87F2ADF5-0DBB-4210-B960-0439E763EB18}" destId="{263D6CFA-9500-4493-BC13-4F93E2578FC6}" srcOrd="0" destOrd="0" presId="urn:microsoft.com/office/officeart/2005/8/layout/chevron1"/>
    <dgm:cxn modelId="{689BA2D0-1B62-4DD4-BF30-1DDD75049E6F}" type="presOf" srcId="{FCA0258E-AFC0-4FA0-A217-2A1E1ABE334A}" destId="{F4EAAB0F-77A3-4730-822B-5C073C5F7FB5}" srcOrd="0" destOrd="0" presId="urn:microsoft.com/office/officeart/2005/8/layout/chevron1"/>
    <dgm:cxn modelId="{D15C66C0-0109-40E5-82C6-2846BC4B4896}" type="presOf" srcId="{15B80B44-D78C-49E6-96D7-C97BF8DB0BD3}" destId="{F20428E3-C47F-4E34-B3F9-DB08C681A934}" srcOrd="0" destOrd="0" presId="urn:microsoft.com/office/officeart/2005/8/layout/chevron1"/>
    <dgm:cxn modelId="{22094A95-012B-42BB-9123-5F2683F8AC0D}" type="presOf" srcId="{F0B4F98B-7CF5-41D1-B021-1AFFDD5D4EBD}" destId="{C5B3F856-D2E0-4E89-A246-619C14866B4A}" srcOrd="0" destOrd="0" presId="urn:microsoft.com/office/officeart/2005/8/layout/chevron1"/>
    <dgm:cxn modelId="{0C405420-9B82-41FC-A780-C7DB1CA3A187}" type="presOf" srcId="{48F13520-B730-42AA-BBFC-0E2815BBCDBC}" destId="{8C011383-88CC-4EC9-A47B-C3959D98D6B4}" srcOrd="0" destOrd="0" presId="urn:microsoft.com/office/officeart/2005/8/layout/chevron1"/>
    <dgm:cxn modelId="{4E0EA89A-0F12-4D4D-86E2-2486393B5A16}" srcId="{FCA0258E-AFC0-4FA0-A217-2A1E1ABE334A}" destId="{9357530B-A62A-482D-9C6F-55B27483734B}" srcOrd="1" destOrd="0" parTransId="{CF7E8F74-15B1-437E-8186-BFAEA7803CB3}" sibTransId="{86994E15-0FDA-406B-8DFF-2E30483E78A7}"/>
    <dgm:cxn modelId="{D1A1E0D5-BD21-4F30-91EA-C7986BE840B0}" srcId="{FCA0258E-AFC0-4FA0-A217-2A1E1ABE334A}" destId="{F0B4F98B-7CF5-41D1-B021-1AFFDD5D4EBD}" srcOrd="5" destOrd="0" parTransId="{AEDB3F0C-1AB7-4D02-AE2C-C05B03886FC4}" sibTransId="{636F7653-5E0B-4F1C-9930-21FE5006833C}"/>
    <dgm:cxn modelId="{2396D42F-4FD3-43D7-814B-C021CBC9D354}" srcId="{FCA0258E-AFC0-4FA0-A217-2A1E1ABE334A}" destId="{15B80B44-D78C-49E6-96D7-C97BF8DB0BD3}" srcOrd="4" destOrd="0" parTransId="{3408D91A-B1FF-494D-B119-3E14BAF0858F}" sibTransId="{B9CCE13A-5496-4CD1-9606-E35D8DC5A481}"/>
    <dgm:cxn modelId="{316F3B3C-CEB5-4740-BAEB-CCD2A64FC56B}" type="presOf" srcId="{9357530B-A62A-482D-9C6F-55B27483734B}" destId="{6090789B-9A6B-41A0-BDA2-D1BBDE630F96}" srcOrd="0" destOrd="0" presId="urn:microsoft.com/office/officeart/2005/8/layout/chevron1"/>
    <dgm:cxn modelId="{B25DC1E5-2AD3-4D70-8073-566AFB7196D6}" type="presOf" srcId="{3F9025C4-8BEE-4852-A05A-C9A6D7A66AC8}" destId="{5F42E851-0E2D-4A7C-8B67-8FA050D06139}" srcOrd="0" destOrd="0" presId="urn:microsoft.com/office/officeart/2005/8/layout/chevron1"/>
    <dgm:cxn modelId="{E6B11DF3-8090-4A34-B501-11E9C31A465B}" srcId="{FCA0258E-AFC0-4FA0-A217-2A1E1ABE334A}" destId="{87F2ADF5-0DBB-4210-B960-0439E763EB18}" srcOrd="2" destOrd="0" parTransId="{C1B2C6BB-529F-44CF-9DD6-49B9B30E1B32}" sibTransId="{9D32066C-CAF1-4DE8-8E0B-C8F4A18C2220}"/>
    <dgm:cxn modelId="{CC31E73A-134C-46E2-950C-E107215B3711}" type="presParOf" srcId="{F4EAAB0F-77A3-4730-822B-5C073C5F7FB5}" destId="{7A2CBF99-D0CA-449D-8DDC-6CCC2E5AD635}" srcOrd="0" destOrd="0" presId="urn:microsoft.com/office/officeart/2005/8/layout/chevron1"/>
    <dgm:cxn modelId="{FB7743B8-893F-4742-86BC-B28249714089}" type="presParOf" srcId="{F4EAAB0F-77A3-4730-822B-5C073C5F7FB5}" destId="{149F7A70-04C4-433E-AE2F-8D8A03EBCC94}" srcOrd="1" destOrd="0" presId="urn:microsoft.com/office/officeart/2005/8/layout/chevron1"/>
    <dgm:cxn modelId="{9FC6C692-8D03-4FA3-8828-37B2A3B67DFB}" type="presParOf" srcId="{F4EAAB0F-77A3-4730-822B-5C073C5F7FB5}" destId="{6090789B-9A6B-41A0-BDA2-D1BBDE630F96}" srcOrd="2" destOrd="0" presId="urn:microsoft.com/office/officeart/2005/8/layout/chevron1"/>
    <dgm:cxn modelId="{2FF83603-4D14-4091-9CA9-F210AF4DE6D8}" type="presParOf" srcId="{F4EAAB0F-77A3-4730-822B-5C073C5F7FB5}" destId="{C6B02AA8-FCE2-4F9A-814F-727F24C48B69}" srcOrd="3" destOrd="0" presId="urn:microsoft.com/office/officeart/2005/8/layout/chevron1"/>
    <dgm:cxn modelId="{FEB09DEE-8B02-42A7-8B49-C35AF325DED7}" type="presParOf" srcId="{F4EAAB0F-77A3-4730-822B-5C073C5F7FB5}" destId="{263D6CFA-9500-4493-BC13-4F93E2578FC6}" srcOrd="4" destOrd="0" presId="urn:microsoft.com/office/officeart/2005/8/layout/chevron1"/>
    <dgm:cxn modelId="{DEEEEBA2-EA95-4E3C-8B0C-5C01F883912D}" type="presParOf" srcId="{F4EAAB0F-77A3-4730-822B-5C073C5F7FB5}" destId="{F12BCF08-BD67-4640-B13C-A40B6767B080}" srcOrd="5" destOrd="0" presId="urn:microsoft.com/office/officeart/2005/8/layout/chevron1"/>
    <dgm:cxn modelId="{A9CD7A1E-E55F-495F-88B4-4BA45D2A0285}" type="presParOf" srcId="{F4EAAB0F-77A3-4730-822B-5C073C5F7FB5}" destId="{5F42E851-0E2D-4A7C-8B67-8FA050D06139}" srcOrd="6" destOrd="0" presId="urn:microsoft.com/office/officeart/2005/8/layout/chevron1"/>
    <dgm:cxn modelId="{E5464CA6-532F-458E-A192-315C538DCA92}" type="presParOf" srcId="{F4EAAB0F-77A3-4730-822B-5C073C5F7FB5}" destId="{EF7CF84D-5F40-4721-AFDD-B57825159654}" srcOrd="7" destOrd="0" presId="urn:microsoft.com/office/officeart/2005/8/layout/chevron1"/>
    <dgm:cxn modelId="{921617EB-C85E-46C0-AE21-678E58C04DFC}" type="presParOf" srcId="{F4EAAB0F-77A3-4730-822B-5C073C5F7FB5}" destId="{F20428E3-C47F-4E34-B3F9-DB08C681A934}" srcOrd="8" destOrd="0" presId="urn:microsoft.com/office/officeart/2005/8/layout/chevron1"/>
    <dgm:cxn modelId="{2D60496E-36E3-454F-A083-8329DA9A1A3D}" type="presParOf" srcId="{F4EAAB0F-77A3-4730-822B-5C073C5F7FB5}" destId="{07AADA55-9591-432C-84B3-1120533214AD}" srcOrd="9" destOrd="0" presId="urn:microsoft.com/office/officeart/2005/8/layout/chevron1"/>
    <dgm:cxn modelId="{A9D4B550-EF0A-490B-BB61-EB17B8231983}" type="presParOf" srcId="{F4EAAB0F-77A3-4730-822B-5C073C5F7FB5}" destId="{C5B3F856-D2E0-4E89-A246-619C14866B4A}" srcOrd="10" destOrd="0" presId="urn:microsoft.com/office/officeart/2005/8/layout/chevron1"/>
    <dgm:cxn modelId="{7BEAB9D4-966C-4AF1-8407-4556A13EF047}" type="presParOf" srcId="{F4EAAB0F-77A3-4730-822B-5C073C5F7FB5}" destId="{2C827037-DF22-4AD3-B2DB-F80A61C4E1D2}" srcOrd="11" destOrd="0" presId="urn:microsoft.com/office/officeart/2005/8/layout/chevron1"/>
    <dgm:cxn modelId="{24FCD80B-0F1C-4BF6-BBED-037764003B5D}" type="presParOf" srcId="{F4EAAB0F-77A3-4730-822B-5C073C5F7FB5}" destId="{8C011383-88CC-4EC9-A47B-C3959D98D6B4}" srcOrd="1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147B049-A795-44E3-82D1-933D8D3B593E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422C329-10EB-4738-888C-48E7708478E9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M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D04D2CE-66A8-4B3E-921A-DF1B9FB887D0}" type="parTrans" cxnId="{58C50D26-75E3-4765-9554-B5EF6EE96CC2}">
      <dgm:prSet/>
      <dgm:spPr/>
      <dgm:t>
        <a:bodyPr/>
        <a:lstStyle/>
        <a:p>
          <a:endParaRPr lang="zh-TW" altLang="en-US"/>
        </a:p>
      </dgm:t>
    </dgm:pt>
    <dgm:pt modelId="{17146FA5-6E85-4108-B7E1-FD562492DA8A}" type="sibTrans" cxnId="{58C50D26-75E3-4765-9554-B5EF6EE96CC2}">
      <dgm:prSet/>
      <dgm:spPr/>
      <dgm:t>
        <a:bodyPr/>
        <a:lstStyle/>
        <a:p>
          <a:endParaRPr lang="zh-TW" altLang="en-US"/>
        </a:p>
      </dgm:t>
    </dgm:pt>
    <dgm:pt modelId="{946B29D3-9DE3-455F-BE1B-E4EDB85136AD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M/PCC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545BF1B-4170-4521-AD82-2A9BC60D96FE}" type="parTrans" cxnId="{9B7A83A7-39AB-433E-B97A-FAD9F4FDFC55}">
      <dgm:prSet/>
      <dgm:spPr/>
      <dgm:t>
        <a:bodyPr/>
        <a:lstStyle/>
        <a:p>
          <a:endParaRPr lang="zh-TW" altLang="en-US"/>
        </a:p>
      </dgm:t>
    </dgm:pt>
    <dgm:pt modelId="{3253CC47-33A8-4F5B-B678-84EA105C4D54}" type="sibTrans" cxnId="{9B7A83A7-39AB-433E-B97A-FAD9F4FDFC55}">
      <dgm:prSet/>
      <dgm:spPr/>
      <dgm:t>
        <a:bodyPr/>
        <a:lstStyle/>
        <a:p>
          <a:endParaRPr lang="zh-TW" altLang="en-US"/>
        </a:p>
      </dgm:t>
    </dgm:pt>
    <dgm:pt modelId="{196FEA8C-4C4A-4B39-88DE-BDB1544CD8AA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M/PCC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113010B-186C-4763-8B99-E5CAEC740E18}" type="parTrans" cxnId="{AB38F4A3-3DD5-47A3-80ED-F9C89EA6C0BD}">
      <dgm:prSet/>
      <dgm:spPr/>
      <dgm:t>
        <a:bodyPr/>
        <a:lstStyle/>
        <a:p>
          <a:endParaRPr lang="zh-TW" altLang="en-US"/>
        </a:p>
      </dgm:t>
    </dgm:pt>
    <dgm:pt modelId="{EA3AF0EC-A2DB-4DC1-9A70-BA47269640EC}" type="sibTrans" cxnId="{AB38F4A3-3DD5-47A3-80ED-F9C89EA6C0BD}">
      <dgm:prSet/>
      <dgm:spPr/>
      <dgm:t>
        <a:bodyPr/>
        <a:lstStyle/>
        <a:p>
          <a:endParaRPr lang="zh-TW" altLang="en-US"/>
        </a:p>
      </dgm:t>
    </dgm:pt>
    <dgm:pt modelId="{D9B28041-C6E4-4AA8-9C08-9EEA85903340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Function Team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E4EADC3-B935-4D8F-8F80-33891E7EACBE}" type="parTrans" cxnId="{44DAD5A2-BFB0-4774-BA08-683FFAF7C884}">
      <dgm:prSet/>
      <dgm:spPr/>
      <dgm:t>
        <a:bodyPr/>
        <a:lstStyle/>
        <a:p>
          <a:endParaRPr lang="zh-TW" altLang="en-US"/>
        </a:p>
      </dgm:t>
    </dgm:pt>
    <dgm:pt modelId="{0E5F0203-C90F-4BA1-80D7-A521BFECFB66}" type="sibTrans" cxnId="{44DAD5A2-BFB0-4774-BA08-683FFAF7C884}">
      <dgm:prSet/>
      <dgm:spPr/>
      <dgm:t>
        <a:bodyPr/>
        <a:lstStyle/>
        <a:p>
          <a:endParaRPr lang="zh-TW" altLang="en-US"/>
        </a:p>
      </dgm:t>
    </dgm:pt>
    <dgm:pt modelId="{58682D4C-601D-4774-8C7B-80CB52A5740B}">
      <dgm:prSet phldrT="[文字]" custT="1"/>
      <dgm:spPr>
        <a:solidFill>
          <a:srgbClr val="0070C0"/>
        </a:solidFill>
      </dgm:spPr>
      <dgm:t>
        <a:bodyPr/>
        <a:lstStyle/>
        <a:p>
          <a:pPr algn="l"/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M/Function Team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446F185-00C8-4C3F-9EDC-C235003ED7C7}" type="parTrans" cxnId="{BF075CE0-D29A-4843-A212-1EB2B0762C63}">
      <dgm:prSet/>
      <dgm:spPr/>
      <dgm:t>
        <a:bodyPr/>
        <a:lstStyle/>
        <a:p>
          <a:endParaRPr lang="zh-TW" altLang="en-US"/>
        </a:p>
      </dgm:t>
    </dgm:pt>
    <dgm:pt modelId="{A022812C-D207-4FBE-B918-2B4E6FC558CB}" type="sibTrans" cxnId="{BF075CE0-D29A-4843-A212-1EB2B0762C63}">
      <dgm:prSet/>
      <dgm:spPr/>
      <dgm:t>
        <a:bodyPr/>
        <a:lstStyle/>
        <a:p>
          <a:endParaRPr lang="zh-TW" altLang="en-US"/>
        </a:p>
      </dgm:t>
    </dgm:pt>
    <dgm:pt modelId="{6CFF9C31-B188-474A-B592-890A2A06C570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CC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A34D091-275F-43BF-B0DC-9C10456CC9A5}" type="parTrans" cxnId="{DFEC9A0F-CF48-402E-8C97-D194889F87E9}">
      <dgm:prSet/>
      <dgm:spPr/>
      <dgm:t>
        <a:bodyPr/>
        <a:lstStyle/>
        <a:p>
          <a:endParaRPr lang="zh-TW" altLang="en-US"/>
        </a:p>
      </dgm:t>
    </dgm:pt>
    <dgm:pt modelId="{5989DB5B-BE58-45E1-A685-63CC0708D69E}" type="sibTrans" cxnId="{DFEC9A0F-CF48-402E-8C97-D194889F87E9}">
      <dgm:prSet/>
      <dgm:spPr/>
      <dgm:t>
        <a:bodyPr/>
        <a:lstStyle/>
        <a:p>
          <a:endParaRPr lang="zh-TW" altLang="en-US"/>
        </a:p>
      </dgm:t>
    </dgm:pt>
    <dgm:pt modelId="{DAB10722-9980-46B2-8FBC-98AC64397BBC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CC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740FDC3-40B6-4214-A5AE-5E43AFA64B40}" type="parTrans" cxnId="{C9BC77D2-CCDF-4904-AFF2-0B72CDD23BD0}">
      <dgm:prSet/>
      <dgm:spPr/>
      <dgm:t>
        <a:bodyPr/>
        <a:lstStyle/>
        <a:p>
          <a:endParaRPr lang="zh-TW" altLang="en-US"/>
        </a:p>
      </dgm:t>
    </dgm:pt>
    <dgm:pt modelId="{8EC01643-B3BE-47AB-9C76-A6D10FF753C9}" type="sibTrans" cxnId="{C9BC77D2-CCDF-4904-AFF2-0B72CDD23BD0}">
      <dgm:prSet/>
      <dgm:spPr/>
      <dgm:t>
        <a:bodyPr/>
        <a:lstStyle/>
        <a:p>
          <a:endParaRPr lang="zh-TW" altLang="en-US"/>
        </a:p>
      </dgm:t>
    </dgm:pt>
    <dgm:pt modelId="{35606D00-2497-4B72-8B27-39A53761BFED}" type="pres">
      <dgm:prSet presAssocID="{F147B049-A795-44E3-82D1-933D8D3B593E}" presName="Name0" presStyleCnt="0">
        <dgm:presLayoutVars>
          <dgm:dir/>
          <dgm:resizeHandles val="exact"/>
        </dgm:presLayoutVars>
      </dgm:prSet>
      <dgm:spPr/>
    </dgm:pt>
    <dgm:pt modelId="{06D00A11-1568-485B-A74A-C50337868EF0}" type="pres">
      <dgm:prSet presAssocID="{A422C329-10EB-4738-888C-48E7708478E9}" presName="parTxOnly" presStyleLbl="node1" presStyleIdx="0" presStyleCnt="7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74C8ED53-F651-4D12-AAE1-F1F73C579195}" type="pres">
      <dgm:prSet presAssocID="{17146FA5-6E85-4108-B7E1-FD562492DA8A}" presName="parSpace" presStyleCnt="0"/>
      <dgm:spPr/>
    </dgm:pt>
    <dgm:pt modelId="{7C85B74C-ECE0-4C05-8A71-945DDBE38942}" type="pres">
      <dgm:prSet presAssocID="{D9B28041-C6E4-4AA8-9C08-9EEA85903340}" presName="parTxOnly" presStyleLbl="node1" presStyleIdx="1" presStyleCnt="7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3CB59CAD-F45D-4627-942A-040CC6CC1F76}" type="pres">
      <dgm:prSet presAssocID="{0E5F0203-C90F-4BA1-80D7-A521BFECFB66}" presName="parSpace" presStyleCnt="0"/>
      <dgm:spPr/>
    </dgm:pt>
    <dgm:pt modelId="{9910CA39-92DC-4DE3-B510-B6251E3F3B7D}" type="pres">
      <dgm:prSet presAssocID="{58682D4C-601D-4774-8C7B-80CB52A5740B}" presName="parTxOnly" presStyleLbl="node1" presStyleIdx="2" presStyleCnt="7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2819B319-B7E0-4D20-9736-FF9ADB6D7DB9}" type="pres">
      <dgm:prSet presAssocID="{A022812C-D207-4FBE-B918-2B4E6FC558CB}" presName="parSpace" presStyleCnt="0"/>
      <dgm:spPr/>
    </dgm:pt>
    <dgm:pt modelId="{2AB8F2A1-1A90-4E9E-BD60-BCDCF5C87DA4}" type="pres">
      <dgm:prSet presAssocID="{6CFF9C31-B188-474A-B592-890A2A06C570}" presName="parTxOnly" presStyleLbl="node1" presStyleIdx="3" presStyleCnt="7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5C3D61ED-4881-433B-A061-3736E738CBF3}" type="pres">
      <dgm:prSet presAssocID="{5989DB5B-BE58-45E1-A685-63CC0708D69E}" presName="parSpace" presStyleCnt="0"/>
      <dgm:spPr/>
    </dgm:pt>
    <dgm:pt modelId="{AFE53BDE-0BBA-434C-8693-FDE5D590852C}" type="pres">
      <dgm:prSet presAssocID="{946B29D3-9DE3-455F-BE1B-E4EDB85136AD}" presName="parTxOnly" presStyleLbl="node1" presStyleIdx="4" presStyleCnt="7" custLinFactNeighborX="-10300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5E8B90AF-0FEB-4612-A93B-79481F5BF463}" type="pres">
      <dgm:prSet presAssocID="{3253CC47-33A8-4F5B-B678-84EA105C4D54}" presName="parSpace" presStyleCnt="0"/>
      <dgm:spPr/>
    </dgm:pt>
    <dgm:pt modelId="{7961CBB7-DE2D-4B75-83DD-CB63B6296674}" type="pres">
      <dgm:prSet presAssocID="{196FEA8C-4C4A-4B39-88DE-BDB1544CD8AA}" presName="parTxOnly" presStyleLbl="node1" presStyleIdx="5" presStyleCnt="7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B3A72CA9-F1DB-4530-935C-D69DF10970C7}" type="pres">
      <dgm:prSet presAssocID="{EA3AF0EC-A2DB-4DC1-9A70-BA47269640EC}" presName="parSpace" presStyleCnt="0"/>
      <dgm:spPr/>
    </dgm:pt>
    <dgm:pt modelId="{1DF42B00-E751-4A80-8C36-4FA66430636A}" type="pres">
      <dgm:prSet presAssocID="{DAB10722-9980-46B2-8FBC-98AC64397BBC}" presName="parTxOnly" presStyleLbl="node1" presStyleIdx="6" presStyleCnt="7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</dgm:ptLst>
  <dgm:cxnLst>
    <dgm:cxn modelId="{BF075CE0-D29A-4843-A212-1EB2B0762C63}" srcId="{F147B049-A795-44E3-82D1-933D8D3B593E}" destId="{58682D4C-601D-4774-8C7B-80CB52A5740B}" srcOrd="2" destOrd="0" parTransId="{0446F185-00C8-4C3F-9EDC-C235003ED7C7}" sibTransId="{A022812C-D207-4FBE-B918-2B4E6FC558CB}"/>
    <dgm:cxn modelId="{6807B68B-AE47-47B7-8578-A37396FA49A3}" type="presOf" srcId="{946B29D3-9DE3-455F-BE1B-E4EDB85136AD}" destId="{AFE53BDE-0BBA-434C-8693-FDE5D590852C}" srcOrd="0" destOrd="0" presId="urn:microsoft.com/office/officeart/2005/8/layout/hChevron3"/>
    <dgm:cxn modelId="{4DC2C950-DBBE-463F-B042-7471691B9844}" type="presOf" srcId="{F147B049-A795-44E3-82D1-933D8D3B593E}" destId="{35606D00-2497-4B72-8B27-39A53761BFED}" srcOrd="0" destOrd="0" presId="urn:microsoft.com/office/officeart/2005/8/layout/hChevron3"/>
    <dgm:cxn modelId="{58C50D26-75E3-4765-9554-B5EF6EE96CC2}" srcId="{F147B049-A795-44E3-82D1-933D8D3B593E}" destId="{A422C329-10EB-4738-888C-48E7708478E9}" srcOrd="0" destOrd="0" parTransId="{ED04D2CE-66A8-4B3E-921A-DF1B9FB887D0}" sibTransId="{17146FA5-6E85-4108-B7E1-FD562492DA8A}"/>
    <dgm:cxn modelId="{9B7A83A7-39AB-433E-B97A-FAD9F4FDFC55}" srcId="{F147B049-A795-44E3-82D1-933D8D3B593E}" destId="{946B29D3-9DE3-455F-BE1B-E4EDB85136AD}" srcOrd="4" destOrd="0" parTransId="{D545BF1B-4170-4521-AD82-2A9BC60D96FE}" sibTransId="{3253CC47-33A8-4F5B-B678-84EA105C4D54}"/>
    <dgm:cxn modelId="{9DC8E344-5B3F-494A-978B-FD1568EF5FB7}" type="presOf" srcId="{6CFF9C31-B188-474A-B592-890A2A06C570}" destId="{2AB8F2A1-1A90-4E9E-BD60-BCDCF5C87DA4}" srcOrd="0" destOrd="0" presId="urn:microsoft.com/office/officeart/2005/8/layout/hChevron3"/>
    <dgm:cxn modelId="{C9BC77D2-CCDF-4904-AFF2-0B72CDD23BD0}" srcId="{F147B049-A795-44E3-82D1-933D8D3B593E}" destId="{DAB10722-9980-46B2-8FBC-98AC64397BBC}" srcOrd="6" destOrd="0" parTransId="{F740FDC3-40B6-4214-A5AE-5E43AFA64B40}" sibTransId="{8EC01643-B3BE-47AB-9C76-A6D10FF753C9}"/>
    <dgm:cxn modelId="{44DAD5A2-BFB0-4774-BA08-683FFAF7C884}" srcId="{F147B049-A795-44E3-82D1-933D8D3B593E}" destId="{D9B28041-C6E4-4AA8-9C08-9EEA85903340}" srcOrd="1" destOrd="0" parTransId="{FE4EADC3-B935-4D8F-8F80-33891E7EACBE}" sibTransId="{0E5F0203-C90F-4BA1-80D7-A521BFECFB66}"/>
    <dgm:cxn modelId="{DFEC9A0F-CF48-402E-8C97-D194889F87E9}" srcId="{F147B049-A795-44E3-82D1-933D8D3B593E}" destId="{6CFF9C31-B188-474A-B592-890A2A06C570}" srcOrd="3" destOrd="0" parTransId="{5A34D091-275F-43BF-B0DC-9C10456CC9A5}" sibTransId="{5989DB5B-BE58-45E1-A685-63CC0708D69E}"/>
    <dgm:cxn modelId="{D374D960-913D-4F58-A259-882B594AD7DC}" type="presOf" srcId="{DAB10722-9980-46B2-8FBC-98AC64397BBC}" destId="{1DF42B00-E751-4A80-8C36-4FA66430636A}" srcOrd="0" destOrd="0" presId="urn:microsoft.com/office/officeart/2005/8/layout/hChevron3"/>
    <dgm:cxn modelId="{E866FCB4-6269-456E-B62D-B5DEEB918CE8}" type="presOf" srcId="{196FEA8C-4C4A-4B39-88DE-BDB1544CD8AA}" destId="{7961CBB7-DE2D-4B75-83DD-CB63B6296674}" srcOrd="0" destOrd="0" presId="urn:microsoft.com/office/officeart/2005/8/layout/hChevron3"/>
    <dgm:cxn modelId="{AB38F4A3-3DD5-47A3-80ED-F9C89EA6C0BD}" srcId="{F147B049-A795-44E3-82D1-933D8D3B593E}" destId="{196FEA8C-4C4A-4B39-88DE-BDB1544CD8AA}" srcOrd="5" destOrd="0" parTransId="{A113010B-186C-4763-8B99-E5CAEC740E18}" sibTransId="{EA3AF0EC-A2DB-4DC1-9A70-BA47269640EC}"/>
    <dgm:cxn modelId="{AC560EEE-DB39-46BE-8E2E-9A4381B6233B}" type="presOf" srcId="{D9B28041-C6E4-4AA8-9C08-9EEA85903340}" destId="{7C85B74C-ECE0-4C05-8A71-945DDBE38942}" srcOrd="0" destOrd="0" presId="urn:microsoft.com/office/officeart/2005/8/layout/hChevron3"/>
    <dgm:cxn modelId="{5357A24C-D7BE-47F0-B10D-3BDF88EA42ED}" type="presOf" srcId="{A422C329-10EB-4738-888C-48E7708478E9}" destId="{06D00A11-1568-485B-A74A-C50337868EF0}" srcOrd="0" destOrd="0" presId="urn:microsoft.com/office/officeart/2005/8/layout/hChevron3"/>
    <dgm:cxn modelId="{374A82BA-A2E9-4AA0-B41C-58227BDC3B00}" type="presOf" srcId="{58682D4C-601D-4774-8C7B-80CB52A5740B}" destId="{9910CA39-92DC-4DE3-B510-B6251E3F3B7D}" srcOrd="0" destOrd="0" presId="urn:microsoft.com/office/officeart/2005/8/layout/hChevron3"/>
    <dgm:cxn modelId="{F0FB3F4C-B777-4320-A61F-0FB3715FFE84}" type="presParOf" srcId="{35606D00-2497-4B72-8B27-39A53761BFED}" destId="{06D00A11-1568-485B-A74A-C50337868EF0}" srcOrd="0" destOrd="0" presId="urn:microsoft.com/office/officeart/2005/8/layout/hChevron3"/>
    <dgm:cxn modelId="{A0CA7838-33F8-45C2-A5DA-AEA7ED312A13}" type="presParOf" srcId="{35606D00-2497-4B72-8B27-39A53761BFED}" destId="{74C8ED53-F651-4D12-AAE1-F1F73C579195}" srcOrd="1" destOrd="0" presId="urn:microsoft.com/office/officeart/2005/8/layout/hChevron3"/>
    <dgm:cxn modelId="{62317B0F-901F-4598-85C9-1C118DB1CFFA}" type="presParOf" srcId="{35606D00-2497-4B72-8B27-39A53761BFED}" destId="{7C85B74C-ECE0-4C05-8A71-945DDBE38942}" srcOrd="2" destOrd="0" presId="urn:microsoft.com/office/officeart/2005/8/layout/hChevron3"/>
    <dgm:cxn modelId="{7DF52534-BA2A-42E8-AC0A-B00F67C261D4}" type="presParOf" srcId="{35606D00-2497-4B72-8B27-39A53761BFED}" destId="{3CB59CAD-F45D-4627-942A-040CC6CC1F76}" srcOrd="3" destOrd="0" presId="urn:microsoft.com/office/officeart/2005/8/layout/hChevron3"/>
    <dgm:cxn modelId="{2ED471FB-B5EC-474A-A913-5A151FF035C4}" type="presParOf" srcId="{35606D00-2497-4B72-8B27-39A53761BFED}" destId="{9910CA39-92DC-4DE3-B510-B6251E3F3B7D}" srcOrd="4" destOrd="0" presId="urn:microsoft.com/office/officeart/2005/8/layout/hChevron3"/>
    <dgm:cxn modelId="{9B5E22F1-FDFA-4B6C-92B0-39B16EBD0AED}" type="presParOf" srcId="{35606D00-2497-4B72-8B27-39A53761BFED}" destId="{2819B319-B7E0-4D20-9736-FF9ADB6D7DB9}" srcOrd="5" destOrd="0" presId="urn:microsoft.com/office/officeart/2005/8/layout/hChevron3"/>
    <dgm:cxn modelId="{4BC6B54C-330A-4750-A582-C0560AFED4AF}" type="presParOf" srcId="{35606D00-2497-4B72-8B27-39A53761BFED}" destId="{2AB8F2A1-1A90-4E9E-BD60-BCDCF5C87DA4}" srcOrd="6" destOrd="0" presId="urn:microsoft.com/office/officeart/2005/8/layout/hChevron3"/>
    <dgm:cxn modelId="{2A90C31A-7E61-4480-B846-C2F57876FE82}" type="presParOf" srcId="{35606D00-2497-4B72-8B27-39A53761BFED}" destId="{5C3D61ED-4881-433B-A061-3736E738CBF3}" srcOrd="7" destOrd="0" presId="urn:microsoft.com/office/officeart/2005/8/layout/hChevron3"/>
    <dgm:cxn modelId="{4D69CC09-645C-44BF-8710-B7AA8683D483}" type="presParOf" srcId="{35606D00-2497-4B72-8B27-39A53761BFED}" destId="{AFE53BDE-0BBA-434C-8693-FDE5D590852C}" srcOrd="8" destOrd="0" presId="urn:microsoft.com/office/officeart/2005/8/layout/hChevron3"/>
    <dgm:cxn modelId="{984A9A34-2BAA-4C7A-827D-5136B696D062}" type="presParOf" srcId="{35606D00-2497-4B72-8B27-39A53761BFED}" destId="{5E8B90AF-0FEB-4612-A93B-79481F5BF463}" srcOrd="9" destOrd="0" presId="urn:microsoft.com/office/officeart/2005/8/layout/hChevron3"/>
    <dgm:cxn modelId="{F8F2D496-5797-46F9-873B-D0D2B9FBE154}" type="presParOf" srcId="{35606D00-2497-4B72-8B27-39A53761BFED}" destId="{7961CBB7-DE2D-4B75-83DD-CB63B6296674}" srcOrd="10" destOrd="0" presId="urn:microsoft.com/office/officeart/2005/8/layout/hChevron3"/>
    <dgm:cxn modelId="{B6137A5A-804E-4216-BCA6-EEFFB6EB7F14}" type="presParOf" srcId="{35606D00-2497-4B72-8B27-39A53761BFED}" destId="{B3A72CA9-F1DB-4530-935C-D69DF10970C7}" srcOrd="11" destOrd="0" presId="urn:microsoft.com/office/officeart/2005/8/layout/hChevron3"/>
    <dgm:cxn modelId="{67F900E5-3543-4D0D-9D3A-A1C313529345}" type="presParOf" srcId="{35606D00-2497-4B72-8B27-39A53761BFED}" destId="{1DF42B00-E751-4A80-8C36-4FA66430636A}" srcOrd="1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89A9705-9B61-4D92-AC3A-D6A4C91AFE7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D58A43F-DCD9-4AD0-B016-E90B4FFE7F95}">
      <dgm:prSet phldrT="[文字]" custT="1"/>
      <dgm:spPr>
        <a:solidFill>
          <a:srgbClr val="FADBA4"/>
        </a:solidFill>
      </dgm:spPr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62ACB6F-FEDD-4D96-B3A6-B9F044BDC454}" type="parTrans" cxnId="{2154CEDF-AAD6-4217-90C7-46C6A8598CF4}">
      <dgm:prSet/>
      <dgm:spPr/>
      <dgm:t>
        <a:bodyPr/>
        <a:lstStyle/>
        <a:p>
          <a:endParaRPr lang="zh-TW" altLang="en-US"/>
        </a:p>
      </dgm:t>
    </dgm:pt>
    <dgm:pt modelId="{1FF567FF-CD1B-4D93-9F84-50D4B31F70D4}" type="sibTrans" cxnId="{2154CEDF-AAD6-4217-90C7-46C6A8598CF4}">
      <dgm:prSet/>
      <dgm:spPr/>
      <dgm:t>
        <a:bodyPr/>
        <a:lstStyle/>
        <a:p>
          <a:endParaRPr lang="zh-TW" altLang="en-US"/>
        </a:p>
      </dgm:t>
    </dgm:pt>
    <dgm:pt modelId="{E381519C-8BA4-46B0-B4A6-526103773147}">
      <dgm:prSet phldrT="[文字]" custT="1"/>
      <dgm:spPr>
        <a:solidFill>
          <a:srgbClr val="FADBA4"/>
        </a:solidFill>
      </dgm:spPr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0354697-C14D-4C61-B050-A5BA32F84EE1}" type="parTrans" cxnId="{DCE19C56-8A3C-4F17-8048-6F4FAC2FE4AE}">
      <dgm:prSet/>
      <dgm:spPr/>
      <dgm:t>
        <a:bodyPr/>
        <a:lstStyle/>
        <a:p>
          <a:endParaRPr lang="zh-TW" altLang="en-US"/>
        </a:p>
      </dgm:t>
    </dgm:pt>
    <dgm:pt modelId="{D96755D8-1308-452D-95F8-ED493FD05B77}" type="sibTrans" cxnId="{DCE19C56-8A3C-4F17-8048-6F4FAC2FE4AE}">
      <dgm:prSet/>
      <dgm:spPr/>
      <dgm:t>
        <a:bodyPr/>
        <a:lstStyle/>
        <a:p>
          <a:endParaRPr lang="zh-TW" altLang="en-US"/>
        </a:p>
      </dgm:t>
    </dgm:pt>
    <dgm:pt modelId="{C39DFC80-57DD-45F1-8251-7C221F42A1ED}">
      <dgm:prSet phldrT="[文字]" custT="1"/>
      <dgm:spPr>
        <a:solidFill>
          <a:srgbClr val="FADBA4"/>
        </a:solidFill>
      </dgm:spPr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C545EAC-D2DD-4E35-8F85-12015BDF6D4A}" type="parTrans" cxnId="{A7090415-4366-4A6E-AF05-9BA7B196D22E}">
      <dgm:prSet/>
      <dgm:spPr/>
      <dgm:t>
        <a:bodyPr/>
        <a:lstStyle/>
        <a:p>
          <a:endParaRPr lang="zh-TW" altLang="en-US"/>
        </a:p>
      </dgm:t>
    </dgm:pt>
    <dgm:pt modelId="{A3E62799-2B6E-4294-BBA3-F85C79FF962B}" type="sibTrans" cxnId="{A7090415-4366-4A6E-AF05-9BA7B196D22E}">
      <dgm:prSet/>
      <dgm:spPr/>
      <dgm:t>
        <a:bodyPr/>
        <a:lstStyle/>
        <a:p>
          <a:endParaRPr lang="zh-TW" altLang="en-US"/>
        </a:p>
      </dgm:t>
    </dgm:pt>
    <dgm:pt modelId="{6DBAA1B7-FAA1-43D7-84A3-1D7CC3C60F71}">
      <dgm:prSet phldrT="[文字]" custT="1"/>
      <dgm:spPr>
        <a:solidFill>
          <a:srgbClr val="FADBA4"/>
        </a:solidFill>
      </dgm:spPr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F3335BF-CE57-415D-A156-9FED3106B2A6}" type="parTrans" cxnId="{26162F90-1E1E-47B4-A36B-46B96F33B4AE}">
      <dgm:prSet/>
      <dgm:spPr/>
      <dgm:t>
        <a:bodyPr/>
        <a:lstStyle/>
        <a:p>
          <a:endParaRPr lang="zh-TW" altLang="en-US"/>
        </a:p>
      </dgm:t>
    </dgm:pt>
    <dgm:pt modelId="{DE40293B-43E5-44B7-9125-4CA118FBB24E}" type="sibTrans" cxnId="{26162F90-1E1E-47B4-A36B-46B96F33B4AE}">
      <dgm:prSet/>
      <dgm:spPr/>
      <dgm:t>
        <a:bodyPr/>
        <a:lstStyle/>
        <a:p>
          <a:endParaRPr lang="zh-TW" altLang="en-US"/>
        </a:p>
      </dgm:t>
    </dgm:pt>
    <dgm:pt modelId="{EC2DF810-B531-424E-AA2B-7C2CE3B62F5D}">
      <dgm:prSet phldrT="[文字]" custT="1"/>
      <dgm:spPr>
        <a:solidFill>
          <a:srgbClr val="FADBA4"/>
        </a:solidFill>
      </dgm:spPr>
      <dgm:t>
        <a:bodyPr/>
        <a:lstStyle/>
        <a:p>
          <a:r>
            <a:rPr lang="en-US" altLang="zh-TW" sz="9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3A21352-268C-4131-9977-F05426C4734F}" type="parTrans" cxnId="{E6C016EE-3E57-4F1A-AC5E-E5CBC80883FC}">
      <dgm:prSet/>
      <dgm:spPr/>
      <dgm:t>
        <a:bodyPr/>
        <a:lstStyle/>
        <a:p>
          <a:endParaRPr lang="zh-TW" altLang="en-US"/>
        </a:p>
      </dgm:t>
    </dgm:pt>
    <dgm:pt modelId="{A58818FD-1EE2-49E7-88D5-53A60E6A3976}" type="sibTrans" cxnId="{E6C016EE-3E57-4F1A-AC5E-E5CBC80883FC}">
      <dgm:prSet/>
      <dgm:spPr/>
      <dgm:t>
        <a:bodyPr/>
        <a:lstStyle/>
        <a:p>
          <a:endParaRPr lang="zh-TW" altLang="en-US"/>
        </a:p>
      </dgm:t>
    </dgm:pt>
    <dgm:pt modelId="{D08FFE32-F7DD-405E-9885-B82F7A95456C}" type="pres">
      <dgm:prSet presAssocID="{E89A9705-9B61-4D92-AC3A-D6A4C91AFE7F}" presName="Name0" presStyleCnt="0">
        <dgm:presLayoutVars>
          <dgm:dir/>
          <dgm:animLvl val="lvl"/>
          <dgm:resizeHandles val="exact"/>
        </dgm:presLayoutVars>
      </dgm:prSet>
      <dgm:spPr/>
    </dgm:pt>
    <dgm:pt modelId="{5FBBE67A-41E2-4245-BB07-6848B70A9125}" type="pres">
      <dgm:prSet presAssocID="{8D58A43F-DCD9-4AD0-B016-E90B4FFE7F95}" presName="parTxOnly" presStyleLbl="node1" presStyleIdx="0" presStyleCnt="5" custScaleY="982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31DDB811-F09D-4EE3-A08A-9CD69788503E}" type="pres">
      <dgm:prSet presAssocID="{1FF567FF-CD1B-4D93-9F84-50D4B31F70D4}" presName="parTxOnlySpace" presStyleCnt="0"/>
      <dgm:spPr/>
    </dgm:pt>
    <dgm:pt modelId="{F7634700-DA0D-4659-B2FF-1C08A3AE97BF}" type="pres">
      <dgm:prSet presAssocID="{EC2DF810-B531-424E-AA2B-7C2CE3B62F5D}" presName="parTxOnly" presStyleLbl="node1" presStyleIdx="1" presStyleCnt="5" custScaleY="982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EDCFE7EA-9D94-48CE-8780-185A307C5070}" type="pres">
      <dgm:prSet presAssocID="{A58818FD-1EE2-49E7-88D5-53A60E6A3976}" presName="parTxOnlySpace" presStyleCnt="0"/>
      <dgm:spPr/>
    </dgm:pt>
    <dgm:pt modelId="{84F03A14-6BA3-48B7-9DDE-3F65AF39DAB2}" type="pres">
      <dgm:prSet presAssocID="{E381519C-8BA4-46B0-B4A6-526103773147}" presName="parTxOnly" presStyleLbl="node1" presStyleIdx="2" presStyleCnt="5" custScaleY="982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37703A7F-C157-4D9C-A100-C57438D44675}" type="pres">
      <dgm:prSet presAssocID="{D96755D8-1308-452D-95F8-ED493FD05B77}" presName="parTxOnlySpace" presStyleCnt="0"/>
      <dgm:spPr/>
    </dgm:pt>
    <dgm:pt modelId="{B4D21132-9630-432F-8D4A-A72E7CAE87DC}" type="pres">
      <dgm:prSet presAssocID="{C39DFC80-57DD-45F1-8251-7C221F42A1ED}" presName="parTxOnly" presStyleLbl="node1" presStyleIdx="3" presStyleCnt="5" custScaleY="982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6CD185FF-5E16-4C8F-87D7-2E2313842A10}" type="pres">
      <dgm:prSet presAssocID="{A3E62799-2B6E-4294-BBA3-F85C79FF962B}" presName="parTxOnlySpace" presStyleCnt="0"/>
      <dgm:spPr/>
    </dgm:pt>
    <dgm:pt modelId="{B303B658-D894-498A-B78F-0254C65DAA3E}" type="pres">
      <dgm:prSet presAssocID="{6DBAA1B7-FAA1-43D7-84A3-1D7CC3C60F71}" presName="parTxOnly" presStyleLbl="node1" presStyleIdx="4" presStyleCnt="5" custScaleY="982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</dgm:ptLst>
  <dgm:cxnLst>
    <dgm:cxn modelId="{EA8B4AAF-20AF-483D-9637-D9331444EC93}" type="presOf" srcId="{C39DFC80-57DD-45F1-8251-7C221F42A1ED}" destId="{B4D21132-9630-432F-8D4A-A72E7CAE87DC}" srcOrd="0" destOrd="0" presId="urn:microsoft.com/office/officeart/2005/8/layout/chevron1"/>
    <dgm:cxn modelId="{A7090415-4366-4A6E-AF05-9BA7B196D22E}" srcId="{E89A9705-9B61-4D92-AC3A-D6A4C91AFE7F}" destId="{C39DFC80-57DD-45F1-8251-7C221F42A1ED}" srcOrd="3" destOrd="0" parTransId="{FC545EAC-D2DD-4E35-8F85-12015BDF6D4A}" sibTransId="{A3E62799-2B6E-4294-BBA3-F85C79FF962B}"/>
    <dgm:cxn modelId="{26162F90-1E1E-47B4-A36B-46B96F33B4AE}" srcId="{E89A9705-9B61-4D92-AC3A-D6A4C91AFE7F}" destId="{6DBAA1B7-FAA1-43D7-84A3-1D7CC3C60F71}" srcOrd="4" destOrd="0" parTransId="{3F3335BF-CE57-415D-A156-9FED3106B2A6}" sibTransId="{DE40293B-43E5-44B7-9125-4CA118FBB24E}"/>
    <dgm:cxn modelId="{EB4B1858-E906-4F55-8328-955776FF01EE}" type="presOf" srcId="{8D58A43F-DCD9-4AD0-B016-E90B4FFE7F95}" destId="{5FBBE67A-41E2-4245-BB07-6848B70A9125}" srcOrd="0" destOrd="0" presId="urn:microsoft.com/office/officeart/2005/8/layout/chevron1"/>
    <dgm:cxn modelId="{2154CEDF-AAD6-4217-90C7-46C6A8598CF4}" srcId="{E89A9705-9B61-4D92-AC3A-D6A4C91AFE7F}" destId="{8D58A43F-DCD9-4AD0-B016-E90B4FFE7F95}" srcOrd="0" destOrd="0" parTransId="{562ACB6F-FEDD-4D96-B3A6-B9F044BDC454}" sibTransId="{1FF567FF-CD1B-4D93-9F84-50D4B31F70D4}"/>
    <dgm:cxn modelId="{77ED0C7E-BC08-456B-A965-3BCC25B5B44A}" type="presOf" srcId="{6DBAA1B7-FAA1-43D7-84A3-1D7CC3C60F71}" destId="{B303B658-D894-498A-B78F-0254C65DAA3E}" srcOrd="0" destOrd="0" presId="urn:microsoft.com/office/officeart/2005/8/layout/chevron1"/>
    <dgm:cxn modelId="{A63EFDB6-96A9-494A-88CA-549135FE7E60}" type="presOf" srcId="{EC2DF810-B531-424E-AA2B-7C2CE3B62F5D}" destId="{F7634700-DA0D-4659-B2FF-1C08A3AE97BF}" srcOrd="0" destOrd="0" presId="urn:microsoft.com/office/officeart/2005/8/layout/chevron1"/>
    <dgm:cxn modelId="{EBA36E09-AD8A-4E14-8847-8C456F39094A}" type="presOf" srcId="{E381519C-8BA4-46B0-B4A6-526103773147}" destId="{84F03A14-6BA3-48B7-9DDE-3F65AF39DAB2}" srcOrd="0" destOrd="0" presId="urn:microsoft.com/office/officeart/2005/8/layout/chevron1"/>
    <dgm:cxn modelId="{E6C016EE-3E57-4F1A-AC5E-E5CBC80883FC}" srcId="{E89A9705-9B61-4D92-AC3A-D6A4C91AFE7F}" destId="{EC2DF810-B531-424E-AA2B-7C2CE3B62F5D}" srcOrd="1" destOrd="0" parTransId="{E3A21352-268C-4131-9977-F05426C4734F}" sibTransId="{A58818FD-1EE2-49E7-88D5-53A60E6A3976}"/>
    <dgm:cxn modelId="{DCE19C56-8A3C-4F17-8048-6F4FAC2FE4AE}" srcId="{E89A9705-9B61-4D92-AC3A-D6A4C91AFE7F}" destId="{E381519C-8BA4-46B0-B4A6-526103773147}" srcOrd="2" destOrd="0" parTransId="{00354697-C14D-4C61-B050-A5BA32F84EE1}" sibTransId="{D96755D8-1308-452D-95F8-ED493FD05B77}"/>
    <dgm:cxn modelId="{5B12667E-E877-4BE3-84B0-20B39BF48F46}" type="presOf" srcId="{E89A9705-9B61-4D92-AC3A-D6A4C91AFE7F}" destId="{D08FFE32-F7DD-405E-9885-B82F7A95456C}" srcOrd="0" destOrd="0" presId="urn:microsoft.com/office/officeart/2005/8/layout/chevron1"/>
    <dgm:cxn modelId="{E97755CC-C351-41EC-AAF6-A0354AB595C0}" type="presParOf" srcId="{D08FFE32-F7DD-405E-9885-B82F7A95456C}" destId="{5FBBE67A-41E2-4245-BB07-6848B70A9125}" srcOrd="0" destOrd="0" presId="urn:microsoft.com/office/officeart/2005/8/layout/chevron1"/>
    <dgm:cxn modelId="{F50E1CB2-1BBF-423D-9D6F-7B7677AADD05}" type="presParOf" srcId="{D08FFE32-F7DD-405E-9885-B82F7A95456C}" destId="{31DDB811-F09D-4EE3-A08A-9CD69788503E}" srcOrd="1" destOrd="0" presId="urn:microsoft.com/office/officeart/2005/8/layout/chevron1"/>
    <dgm:cxn modelId="{423DD878-3E61-46E3-AB90-6F0A84851AC4}" type="presParOf" srcId="{D08FFE32-F7DD-405E-9885-B82F7A95456C}" destId="{F7634700-DA0D-4659-B2FF-1C08A3AE97BF}" srcOrd="2" destOrd="0" presId="urn:microsoft.com/office/officeart/2005/8/layout/chevron1"/>
    <dgm:cxn modelId="{DA0CA5EB-3BCF-4D45-A6FE-BD80C1431E1F}" type="presParOf" srcId="{D08FFE32-F7DD-405E-9885-B82F7A95456C}" destId="{EDCFE7EA-9D94-48CE-8780-185A307C5070}" srcOrd="3" destOrd="0" presId="urn:microsoft.com/office/officeart/2005/8/layout/chevron1"/>
    <dgm:cxn modelId="{D73B11FD-43FA-4CCC-B463-59A4143A8477}" type="presParOf" srcId="{D08FFE32-F7DD-405E-9885-B82F7A95456C}" destId="{84F03A14-6BA3-48B7-9DDE-3F65AF39DAB2}" srcOrd="4" destOrd="0" presId="urn:microsoft.com/office/officeart/2005/8/layout/chevron1"/>
    <dgm:cxn modelId="{56A47FE6-4B95-4B77-9AED-477AD3A4A9B8}" type="presParOf" srcId="{D08FFE32-F7DD-405E-9885-B82F7A95456C}" destId="{37703A7F-C157-4D9C-A100-C57438D44675}" srcOrd="5" destOrd="0" presId="urn:microsoft.com/office/officeart/2005/8/layout/chevron1"/>
    <dgm:cxn modelId="{F653C0C4-D548-4971-A4FB-9DFDECD9A0E5}" type="presParOf" srcId="{D08FFE32-F7DD-405E-9885-B82F7A95456C}" destId="{B4D21132-9630-432F-8D4A-A72E7CAE87DC}" srcOrd="6" destOrd="0" presId="urn:microsoft.com/office/officeart/2005/8/layout/chevron1"/>
    <dgm:cxn modelId="{3EF48733-FE70-491C-9875-717D48251A52}" type="presParOf" srcId="{D08FFE32-F7DD-405E-9885-B82F7A95456C}" destId="{6CD185FF-5E16-4C8F-87D7-2E2313842A10}" srcOrd="7" destOrd="0" presId="urn:microsoft.com/office/officeart/2005/8/layout/chevron1"/>
    <dgm:cxn modelId="{6F844C3B-AC65-460A-B92E-74ACD0B6F788}" type="presParOf" srcId="{D08FFE32-F7DD-405E-9885-B82F7A95456C}" destId="{B303B658-D894-498A-B78F-0254C65DAA3E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147B049-A795-44E3-82D1-933D8D3B593E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422C329-10EB-4738-888C-48E7708478E9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M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D04D2CE-66A8-4B3E-921A-DF1B9FB887D0}" type="parTrans" cxnId="{58C50D26-75E3-4765-9554-B5EF6EE96CC2}">
      <dgm:prSet/>
      <dgm:spPr/>
      <dgm:t>
        <a:bodyPr/>
        <a:lstStyle/>
        <a:p>
          <a:endParaRPr lang="zh-TW" altLang="en-US"/>
        </a:p>
      </dgm:t>
    </dgm:pt>
    <dgm:pt modelId="{17146FA5-6E85-4108-B7E1-FD562492DA8A}" type="sibTrans" cxnId="{58C50D26-75E3-4765-9554-B5EF6EE96CC2}">
      <dgm:prSet/>
      <dgm:spPr/>
      <dgm:t>
        <a:bodyPr/>
        <a:lstStyle/>
        <a:p>
          <a:endParaRPr lang="zh-TW" altLang="en-US"/>
        </a:p>
      </dgm:t>
    </dgm:pt>
    <dgm:pt modelId="{D9B28041-C6E4-4AA8-9C08-9EEA85903340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Function Team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E4EADC3-B935-4D8F-8F80-33891E7EACBE}" type="parTrans" cxnId="{44DAD5A2-BFB0-4774-BA08-683FFAF7C884}">
      <dgm:prSet/>
      <dgm:spPr/>
      <dgm:t>
        <a:bodyPr/>
        <a:lstStyle/>
        <a:p>
          <a:endParaRPr lang="zh-TW" altLang="en-US"/>
        </a:p>
      </dgm:t>
    </dgm:pt>
    <dgm:pt modelId="{0E5F0203-C90F-4BA1-80D7-A521BFECFB66}" type="sibTrans" cxnId="{44DAD5A2-BFB0-4774-BA08-683FFAF7C884}">
      <dgm:prSet/>
      <dgm:spPr/>
      <dgm:t>
        <a:bodyPr/>
        <a:lstStyle/>
        <a:p>
          <a:endParaRPr lang="zh-TW" altLang="en-US"/>
        </a:p>
      </dgm:t>
    </dgm:pt>
    <dgm:pt modelId="{58682D4C-601D-4774-8C7B-80CB52A5740B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CC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446F185-00C8-4C3F-9EDC-C235003ED7C7}" type="parTrans" cxnId="{BF075CE0-D29A-4843-A212-1EB2B0762C63}">
      <dgm:prSet/>
      <dgm:spPr/>
      <dgm:t>
        <a:bodyPr/>
        <a:lstStyle/>
        <a:p>
          <a:endParaRPr lang="zh-TW" altLang="en-US"/>
        </a:p>
      </dgm:t>
    </dgm:pt>
    <dgm:pt modelId="{A022812C-D207-4FBE-B918-2B4E6FC558CB}" type="sibTrans" cxnId="{BF075CE0-D29A-4843-A212-1EB2B0762C63}">
      <dgm:prSet/>
      <dgm:spPr/>
      <dgm:t>
        <a:bodyPr/>
        <a:lstStyle/>
        <a:p>
          <a:endParaRPr lang="zh-TW" altLang="en-US"/>
        </a:p>
      </dgm:t>
    </dgm:pt>
    <dgm:pt modelId="{6CFF9C31-B188-474A-B592-890A2A06C570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DL System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A34D091-275F-43BF-B0DC-9C10456CC9A5}" type="parTrans" cxnId="{DFEC9A0F-CF48-402E-8C97-D194889F87E9}">
      <dgm:prSet/>
      <dgm:spPr/>
      <dgm:t>
        <a:bodyPr/>
        <a:lstStyle/>
        <a:p>
          <a:endParaRPr lang="zh-TW" altLang="en-US"/>
        </a:p>
      </dgm:t>
    </dgm:pt>
    <dgm:pt modelId="{5989DB5B-BE58-45E1-A685-63CC0708D69E}" type="sibTrans" cxnId="{DFEC9A0F-CF48-402E-8C97-D194889F87E9}">
      <dgm:prSet/>
      <dgm:spPr/>
      <dgm:t>
        <a:bodyPr/>
        <a:lstStyle/>
        <a:p>
          <a:endParaRPr lang="zh-TW" altLang="en-US"/>
        </a:p>
      </dgm:t>
    </dgm:pt>
    <dgm:pt modelId="{DAB10722-9980-46B2-8FBC-98AC64397BBC}">
      <dgm:prSet phldrT="[文字]" custT="1"/>
      <dgm:spPr>
        <a:solidFill>
          <a:srgbClr val="0070C0"/>
        </a:solidFill>
      </dgm:spPr>
      <dgm:t>
        <a:bodyPr/>
        <a:lstStyle/>
        <a:p>
          <a:r>
            <a:rPr lang="en-US" altLang="zh-TW" sz="1100" dirty="0">
              <a:latin typeface="Calibri" panose="020F0502020204030204" pitchFamily="34" charset="0"/>
              <a:cs typeface="Calibri" panose="020F0502020204030204" pitchFamily="34" charset="0"/>
            </a:rPr>
            <a:t>PCC</a:t>
          </a:r>
          <a:endParaRPr lang="zh-TW" altLang="en-US" sz="11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740FDC3-40B6-4214-A5AE-5E43AFA64B40}" type="parTrans" cxnId="{C9BC77D2-CCDF-4904-AFF2-0B72CDD23BD0}">
      <dgm:prSet/>
      <dgm:spPr/>
      <dgm:t>
        <a:bodyPr/>
        <a:lstStyle/>
        <a:p>
          <a:endParaRPr lang="zh-TW" altLang="en-US"/>
        </a:p>
      </dgm:t>
    </dgm:pt>
    <dgm:pt modelId="{8EC01643-B3BE-47AB-9C76-A6D10FF753C9}" type="sibTrans" cxnId="{C9BC77D2-CCDF-4904-AFF2-0B72CDD23BD0}">
      <dgm:prSet/>
      <dgm:spPr/>
      <dgm:t>
        <a:bodyPr/>
        <a:lstStyle/>
        <a:p>
          <a:endParaRPr lang="zh-TW" altLang="en-US"/>
        </a:p>
      </dgm:t>
    </dgm:pt>
    <dgm:pt modelId="{35606D00-2497-4B72-8B27-39A53761BFED}" type="pres">
      <dgm:prSet presAssocID="{F147B049-A795-44E3-82D1-933D8D3B593E}" presName="Name0" presStyleCnt="0">
        <dgm:presLayoutVars>
          <dgm:dir/>
          <dgm:resizeHandles val="exact"/>
        </dgm:presLayoutVars>
      </dgm:prSet>
      <dgm:spPr/>
    </dgm:pt>
    <dgm:pt modelId="{06D00A11-1568-485B-A74A-C50337868EF0}" type="pres">
      <dgm:prSet presAssocID="{A422C329-10EB-4738-888C-48E7708478E9}" presName="parTxOnly" presStyleLbl="node1" presStyleIdx="0" presStyleCnt="5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74C8ED53-F651-4D12-AAE1-F1F73C579195}" type="pres">
      <dgm:prSet presAssocID="{17146FA5-6E85-4108-B7E1-FD562492DA8A}" presName="parSpace" presStyleCnt="0"/>
      <dgm:spPr/>
    </dgm:pt>
    <dgm:pt modelId="{7C85B74C-ECE0-4C05-8A71-945DDBE38942}" type="pres">
      <dgm:prSet presAssocID="{D9B28041-C6E4-4AA8-9C08-9EEA85903340}" presName="parTxOnly" presStyleLbl="node1" presStyleIdx="1" presStyleCnt="5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3CB59CAD-F45D-4627-942A-040CC6CC1F76}" type="pres">
      <dgm:prSet presAssocID="{0E5F0203-C90F-4BA1-80D7-A521BFECFB66}" presName="parSpace" presStyleCnt="0"/>
      <dgm:spPr/>
    </dgm:pt>
    <dgm:pt modelId="{9910CA39-92DC-4DE3-B510-B6251E3F3B7D}" type="pres">
      <dgm:prSet presAssocID="{58682D4C-601D-4774-8C7B-80CB52A5740B}" presName="parTxOnly" presStyleLbl="node1" presStyleIdx="2" presStyleCnt="5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2819B319-B7E0-4D20-9736-FF9ADB6D7DB9}" type="pres">
      <dgm:prSet presAssocID="{A022812C-D207-4FBE-B918-2B4E6FC558CB}" presName="parSpace" presStyleCnt="0"/>
      <dgm:spPr/>
    </dgm:pt>
    <dgm:pt modelId="{2AB8F2A1-1A90-4E9E-BD60-BCDCF5C87DA4}" type="pres">
      <dgm:prSet presAssocID="{6CFF9C31-B188-474A-B592-890A2A06C570}" presName="parTxOnly" presStyleLbl="node1" presStyleIdx="3" presStyleCnt="5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5C3D61ED-4881-433B-A061-3736E738CBF3}" type="pres">
      <dgm:prSet presAssocID="{5989DB5B-BE58-45E1-A685-63CC0708D69E}" presName="parSpace" presStyleCnt="0"/>
      <dgm:spPr/>
    </dgm:pt>
    <dgm:pt modelId="{1DF42B00-E751-4A80-8C36-4FA66430636A}" type="pres">
      <dgm:prSet presAssocID="{DAB10722-9980-46B2-8FBC-98AC64397BBC}" presName="parTxOnly" presStyleLbl="node1" presStyleIdx="4" presStyleCnt="5" custLinFactNeighborX="-1117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</dgm:ptLst>
  <dgm:cxnLst>
    <dgm:cxn modelId="{BF075CE0-D29A-4843-A212-1EB2B0762C63}" srcId="{F147B049-A795-44E3-82D1-933D8D3B593E}" destId="{58682D4C-601D-4774-8C7B-80CB52A5740B}" srcOrd="2" destOrd="0" parTransId="{0446F185-00C8-4C3F-9EDC-C235003ED7C7}" sibTransId="{A022812C-D207-4FBE-B918-2B4E6FC558CB}"/>
    <dgm:cxn modelId="{4DC2C950-DBBE-463F-B042-7471691B9844}" type="presOf" srcId="{F147B049-A795-44E3-82D1-933D8D3B593E}" destId="{35606D00-2497-4B72-8B27-39A53761BFED}" srcOrd="0" destOrd="0" presId="urn:microsoft.com/office/officeart/2005/8/layout/hChevron3"/>
    <dgm:cxn modelId="{58C50D26-75E3-4765-9554-B5EF6EE96CC2}" srcId="{F147B049-A795-44E3-82D1-933D8D3B593E}" destId="{A422C329-10EB-4738-888C-48E7708478E9}" srcOrd="0" destOrd="0" parTransId="{ED04D2CE-66A8-4B3E-921A-DF1B9FB887D0}" sibTransId="{17146FA5-6E85-4108-B7E1-FD562492DA8A}"/>
    <dgm:cxn modelId="{9DC8E344-5B3F-494A-978B-FD1568EF5FB7}" type="presOf" srcId="{6CFF9C31-B188-474A-B592-890A2A06C570}" destId="{2AB8F2A1-1A90-4E9E-BD60-BCDCF5C87DA4}" srcOrd="0" destOrd="0" presId="urn:microsoft.com/office/officeart/2005/8/layout/hChevron3"/>
    <dgm:cxn modelId="{C9BC77D2-CCDF-4904-AFF2-0B72CDD23BD0}" srcId="{F147B049-A795-44E3-82D1-933D8D3B593E}" destId="{DAB10722-9980-46B2-8FBC-98AC64397BBC}" srcOrd="4" destOrd="0" parTransId="{F740FDC3-40B6-4214-A5AE-5E43AFA64B40}" sibTransId="{8EC01643-B3BE-47AB-9C76-A6D10FF753C9}"/>
    <dgm:cxn modelId="{44DAD5A2-BFB0-4774-BA08-683FFAF7C884}" srcId="{F147B049-A795-44E3-82D1-933D8D3B593E}" destId="{D9B28041-C6E4-4AA8-9C08-9EEA85903340}" srcOrd="1" destOrd="0" parTransId="{FE4EADC3-B935-4D8F-8F80-33891E7EACBE}" sibTransId="{0E5F0203-C90F-4BA1-80D7-A521BFECFB66}"/>
    <dgm:cxn modelId="{DFEC9A0F-CF48-402E-8C97-D194889F87E9}" srcId="{F147B049-A795-44E3-82D1-933D8D3B593E}" destId="{6CFF9C31-B188-474A-B592-890A2A06C570}" srcOrd="3" destOrd="0" parTransId="{5A34D091-275F-43BF-B0DC-9C10456CC9A5}" sibTransId="{5989DB5B-BE58-45E1-A685-63CC0708D69E}"/>
    <dgm:cxn modelId="{D374D960-913D-4F58-A259-882B594AD7DC}" type="presOf" srcId="{DAB10722-9980-46B2-8FBC-98AC64397BBC}" destId="{1DF42B00-E751-4A80-8C36-4FA66430636A}" srcOrd="0" destOrd="0" presId="urn:microsoft.com/office/officeart/2005/8/layout/hChevron3"/>
    <dgm:cxn modelId="{AC560EEE-DB39-46BE-8E2E-9A4381B6233B}" type="presOf" srcId="{D9B28041-C6E4-4AA8-9C08-9EEA85903340}" destId="{7C85B74C-ECE0-4C05-8A71-945DDBE38942}" srcOrd="0" destOrd="0" presId="urn:microsoft.com/office/officeart/2005/8/layout/hChevron3"/>
    <dgm:cxn modelId="{5357A24C-D7BE-47F0-B10D-3BDF88EA42ED}" type="presOf" srcId="{A422C329-10EB-4738-888C-48E7708478E9}" destId="{06D00A11-1568-485B-A74A-C50337868EF0}" srcOrd="0" destOrd="0" presId="urn:microsoft.com/office/officeart/2005/8/layout/hChevron3"/>
    <dgm:cxn modelId="{374A82BA-A2E9-4AA0-B41C-58227BDC3B00}" type="presOf" srcId="{58682D4C-601D-4774-8C7B-80CB52A5740B}" destId="{9910CA39-92DC-4DE3-B510-B6251E3F3B7D}" srcOrd="0" destOrd="0" presId="urn:microsoft.com/office/officeart/2005/8/layout/hChevron3"/>
    <dgm:cxn modelId="{F0FB3F4C-B777-4320-A61F-0FB3715FFE84}" type="presParOf" srcId="{35606D00-2497-4B72-8B27-39A53761BFED}" destId="{06D00A11-1568-485B-A74A-C50337868EF0}" srcOrd="0" destOrd="0" presId="urn:microsoft.com/office/officeart/2005/8/layout/hChevron3"/>
    <dgm:cxn modelId="{A0CA7838-33F8-45C2-A5DA-AEA7ED312A13}" type="presParOf" srcId="{35606D00-2497-4B72-8B27-39A53761BFED}" destId="{74C8ED53-F651-4D12-AAE1-F1F73C579195}" srcOrd="1" destOrd="0" presId="urn:microsoft.com/office/officeart/2005/8/layout/hChevron3"/>
    <dgm:cxn modelId="{62317B0F-901F-4598-85C9-1C118DB1CFFA}" type="presParOf" srcId="{35606D00-2497-4B72-8B27-39A53761BFED}" destId="{7C85B74C-ECE0-4C05-8A71-945DDBE38942}" srcOrd="2" destOrd="0" presId="urn:microsoft.com/office/officeart/2005/8/layout/hChevron3"/>
    <dgm:cxn modelId="{7DF52534-BA2A-42E8-AC0A-B00F67C261D4}" type="presParOf" srcId="{35606D00-2497-4B72-8B27-39A53761BFED}" destId="{3CB59CAD-F45D-4627-942A-040CC6CC1F76}" srcOrd="3" destOrd="0" presId="urn:microsoft.com/office/officeart/2005/8/layout/hChevron3"/>
    <dgm:cxn modelId="{2ED471FB-B5EC-474A-A913-5A151FF035C4}" type="presParOf" srcId="{35606D00-2497-4B72-8B27-39A53761BFED}" destId="{9910CA39-92DC-4DE3-B510-B6251E3F3B7D}" srcOrd="4" destOrd="0" presId="urn:microsoft.com/office/officeart/2005/8/layout/hChevron3"/>
    <dgm:cxn modelId="{9B5E22F1-FDFA-4B6C-92B0-39B16EBD0AED}" type="presParOf" srcId="{35606D00-2497-4B72-8B27-39A53761BFED}" destId="{2819B319-B7E0-4D20-9736-FF9ADB6D7DB9}" srcOrd="5" destOrd="0" presId="urn:microsoft.com/office/officeart/2005/8/layout/hChevron3"/>
    <dgm:cxn modelId="{4BC6B54C-330A-4750-A582-C0560AFED4AF}" type="presParOf" srcId="{35606D00-2497-4B72-8B27-39A53761BFED}" destId="{2AB8F2A1-1A90-4E9E-BD60-BCDCF5C87DA4}" srcOrd="6" destOrd="0" presId="urn:microsoft.com/office/officeart/2005/8/layout/hChevron3"/>
    <dgm:cxn modelId="{2A90C31A-7E61-4480-B846-C2F57876FE82}" type="presParOf" srcId="{35606D00-2497-4B72-8B27-39A53761BFED}" destId="{5C3D61ED-4881-433B-A061-3736E738CBF3}" srcOrd="7" destOrd="0" presId="urn:microsoft.com/office/officeart/2005/8/layout/hChevron3"/>
    <dgm:cxn modelId="{67F900E5-3543-4D0D-9D3A-A1C313529345}" type="presParOf" srcId="{35606D00-2497-4B72-8B27-39A53761BFED}" destId="{1DF42B00-E751-4A80-8C36-4FA66430636A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ED6ADB2-3812-435A-9FB4-73E379A33E1A}" type="doc">
      <dgm:prSet loTypeId="urn:microsoft.com/office/officeart/2005/8/layout/radial2" loCatId="relationship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zh-TW" altLang="en-US"/>
        </a:p>
      </dgm:t>
    </dgm:pt>
    <dgm:pt modelId="{B5C42121-65D9-4844-9E6D-556719FA65B2}">
      <dgm:prSet phldrT="[文字]"/>
      <dgm:spPr/>
      <dgm:t>
        <a:bodyPr/>
        <a:lstStyle/>
        <a:p>
          <a:r>
            <a:rPr lang="en-US" altLang="zh-TW" b="1" dirty="0" err="1" smtClean="0">
              <a:solidFill>
                <a:schemeClr val="tx1"/>
              </a:solidFill>
            </a:rPr>
            <a:t>fn</a:t>
          </a:r>
          <a:endParaRPr lang="zh-TW" altLang="en-US" b="1" dirty="0">
            <a:solidFill>
              <a:schemeClr val="tx1"/>
            </a:solidFill>
          </a:endParaRPr>
        </a:p>
      </dgm:t>
    </dgm:pt>
    <dgm:pt modelId="{4B3B9922-A544-42E9-9379-4A8BDE539899}" type="parTrans" cxnId="{5AE1534B-D3B0-4AFE-A43C-949C097D946A}">
      <dgm:prSet/>
      <dgm:spPr/>
      <dgm:t>
        <a:bodyPr/>
        <a:lstStyle/>
        <a:p>
          <a:endParaRPr lang="zh-TW" altLang="en-US"/>
        </a:p>
      </dgm:t>
    </dgm:pt>
    <dgm:pt modelId="{A57F0E39-DB59-4D45-86D4-5CF28C9D9E64}" type="sibTrans" cxnId="{5AE1534B-D3B0-4AFE-A43C-949C097D946A}">
      <dgm:prSet/>
      <dgm:spPr/>
      <dgm:t>
        <a:bodyPr/>
        <a:lstStyle/>
        <a:p>
          <a:endParaRPr lang="zh-TW" altLang="en-US"/>
        </a:p>
      </dgm:t>
    </dgm:pt>
    <dgm:pt modelId="{E1F9FFED-AB38-49EF-A495-AB18915CE721}">
      <dgm:prSet phldrT="[文字]" custT="1"/>
      <dgm:spPr/>
      <dgm:t>
        <a:bodyPr/>
        <a:lstStyle/>
        <a:p>
          <a:r>
            <a:rPr lang="en-US" altLang="zh-TW" sz="1200" i="1" dirty="0"/>
            <a:t>Input </a:t>
          </a:r>
          <a:r>
            <a:rPr lang="en-US" altLang="zh-TW" sz="1200" i="1" dirty="0" smtClean="0"/>
            <a:t>xxx</a:t>
          </a:r>
          <a:endParaRPr lang="zh-TW" altLang="en-US" sz="1200" i="1" dirty="0"/>
        </a:p>
      </dgm:t>
    </dgm:pt>
    <dgm:pt modelId="{1D307E82-7703-4312-B125-156414B89149}" type="parTrans" cxnId="{B4B361D9-0475-4500-97E1-EDFD87C7AF6A}">
      <dgm:prSet/>
      <dgm:spPr/>
      <dgm:t>
        <a:bodyPr/>
        <a:lstStyle/>
        <a:p>
          <a:endParaRPr lang="zh-TW" altLang="en-US"/>
        </a:p>
      </dgm:t>
    </dgm:pt>
    <dgm:pt modelId="{E0DB1B2A-F3EF-4089-BFD5-0933158D68B1}" type="sibTrans" cxnId="{B4B361D9-0475-4500-97E1-EDFD87C7AF6A}">
      <dgm:prSet/>
      <dgm:spPr/>
      <dgm:t>
        <a:bodyPr/>
        <a:lstStyle/>
        <a:p>
          <a:endParaRPr lang="zh-TW" altLang="en-US"/>
        </a:p>
      </dgm:t>
    </dgm:pt>
    <dgm:pt modelId="{514BA3CF-1EA6-4461-92C6-84D4384D1E5D}">
      <dgm:prSet phldrT="[文字]"/>
      <dgm:spPr/>
      <dgm:t>
        <a:bodyPr/>
        <a:lstStyle/>
        <a:p>
          <a:r>
            <a:rPr lang="en-US" altLang="zh-TW" b="1" dirty="0" err="1" smtClean="0">
              <a:solidFill>
                <a:schemeClr val="tx1"/>
              </a:solidFill>
            </a:rPr>
            <a:t>fn</a:t>
          </a:r>
          <a:endParaRPr lang="zh-TW" altLang="en-US" b="1" dirty="0">
            <a:solidFill>
              <a:schemeClr val="tx1"/>
            </a:solidFill>
          </a:endParaRPr>
        </a:p>
      </dgm:t>
    </dgm:pt>
    <dgm:pt modelId="{3E4275A0-2E5A-4136-87BD-B9C45D8FD324}" type="parTrans" cxnId="{15F0F823-BF79-4B76-9FDB-DC6B800AFFD8}">
      <dgm:prSet/>
      <dgm:spPr/>
      <dgm:t>
        <a:bodyPr/>
        <a:lstStyle/>
        <a:p>
          <a:endParaRPr lang="zh-TW" altLang="en-US"/>
        </a:p>
      </dgm:t>
    </dgm:pt>
    <dgm:pt modelId="{FF246446-A71B-46D7-BEB5-C1C4A6EC6DA1}" type="sibTrans" cxnId="{15F0F823-BF79-4B76-9FDB-DC6B800AFFD8}">
      <dgm:prSet/>
      <dgm:spPr/>
      <dgm:t>
        <a:bodyPr/>
        <a:lstStyle/>
        <a:p>
          <a:endParaRPr lang="zh-TW" altLang="en-US"/>
        </a:p>
      </dgm:t>
    </dgm:pt>
    <dgm:pt modelId="{5199E5C8-02F2-405A-B388-063273B3902B}">
      <dgm:prSet phldrT="[文字]" custT="1"/>
      <dgm:spPr/>
      <dgm:t>
        <a:bodyPr/>
        <a:lstStyle/>
        <a:p>
          <a:r>
            <a:rPr lang="en-US" altLang="zh-TW" sz="1200" i="1" dirty="0"/>
            <a:t>Input </a:t>
          </a:r>
          <a:r>
            <a:rPr lang="en-US" altLang="zh-TW" sz="1200" i="1" dirty="0" err="1" smtClean="0"/>
            <a:t>xxxx</a:t>
          </a:r>
          <a:endParaRPr lang="zh-TW" altLang="en-US" sz="1200" i="1" dirty="0"/>
        </a:p>
      </dgm:t>
    </dgm:pt>
    <dgm:pt modelId="{B5DE08BD-7401-4B19-9E46-0A99A1EA77E7}" type="parTrans" cxnId="{B002DC7B-1CC6-473F-AF05-3144C044D6CA}">
      <dgm:prSet/>
      <dgm:spPr/>
      <dgm:t>
        <a:bodyPr/>
        <a:lstStyle/>
        <a:p>
          <a:endParaRPr lang="zh-TW" altLang="en-US"/>
        </a:p>
      </dgm:t>
    </dgm:pt>
    <dgm:pt modelId="{50200143-F254-451E-B34D-EF9FA5EE6E4F}" type="sibTrans" cxnId="{B002DC7B-1CC6-473F-AF05-3144C044D6CA}">
      <dgm:prSet/>
      <dgm:spPr/>
      <dgm:t>
        <a:bodyPr/>
        <a:lstStyle/>
        <a:p>
          <a:endParaRPr lang="zh-TW" altLang="en-US"/>
        </a:p>
      </dgm:t>
    </dgm:pt>
    <dgm:pt modelId="{C2759D9F-B96E-4950-A18B-35A912DA0524}">
      <dgm:prSet phldrT="[文字]"/>
      <dgm:spPr/>
      <dgm:t>
        <a:bodyPr/>
        <a:lstStyle/>
        <a:p>
          <a:r>
            <a:rPr lang="en-US" altLang="zh-TW" b="1" dirty="0" err="1" smtClean="0">
              <a:solidFill>
                <a:schemeClr val="tx1"/>
              </a:solidFill>
            </a:rPr>
            <a:t>fn</a:t>
          </a:r>
          <a:endParaRPr lang="zh-TW" altLang="en-US" b="1" dirty="0">
            <a:solidFill>
              <a:schemeClr val="tx1"/>
            </a:solidFill>
          </a:endParaRPr>
        </a:p>
      </dgm:t>
    </dgm:pt>
    <dgm:pt modelId="{A4CD40D3-F6E3-4B5C-B93D-0FD8FA353011}" type="parTrans" cxnId="{99FCBD95-DB73-492D-893D-4AE48DF769F3}">
      <dgm:prSet/>
      <dgm:spPr/>
      <dgm:t>
        <a:bodyPr/>
        <a:lstStyle/>
        <a:p>
          <a:endParaRPr lang="zh-TW" altLang="en-US"/>
        </a:p>
      </dgm:t>
    </dgm:pt>
    <dgm:pt modelId="{5E5BC6CE-8475-4821-BF6B-36D150CED025}" type="sibTrans" cxnId="{99FCBD95-DB73-492D-893D-4AE48DF769F3}">
      <dgm:prSet/>
      <dgm:spPr/>
      <dgm:t>
        <a:bodyPr/>
        <a:lstStyle/>
        <a:p>
          <a:endParaRPr lang="zh-TW" altLang="en-US"/>
        </a:p>
      </dgm:t>
    </dgm:pt>
    <dgm:pt modelId="{C0CFD99C-B180-4199-BC99-47672916B113}">
      <dgm:prSet phldrT="[文字]" custT="1"/>
      <dgm:spPr/>
      <dgm:t>
        <a:bodyPr/>
        <a:lstStyle/>
        <a:p>
          <a:r>
            <a:rPr lang="en-US" altLang="zh-TW" sz="1200" i="1" dirty="0"/>
            <a:t>Input </a:t>
          </a:r>
          <a:r>
            <a:rPr lang="en-US" altLang="zh-TW" sz="1200" i="1" dirty="0" err="1" smtClean="0"/>
            <a:t>xxxx</a:t>
          </a:r>
          <a:endParaRPr lang="zh-TW" altLang="en-US" sz="1200" i="1" dirty="0"/>
        </a:p>
      </dgm:t>
    </dgm:pt>
    <dgm:pt modelId="{229C48D8-E57C-4821-B06C-C27DA6F0D99B}" type="parTrans" cxnId="{173BA3C5-38BF-43A2-9148-5E27211B1136}">
      <dgm:prSet/>
      <dgm:spPr/>
      <dgm:t>
        <a:bodyPr/>
        <a:lstStyle/>
        <a:p>
          <a:endParaRPr lang="zh-TW" altLang="en-US"/>
        </a:p>
      </dgm:t>
    </dgm:pt>
    <dgm:pt modelId="{7143366E-466A-4D6B-BB8C-F686036FDC07}" type="sibTrans" cxnId="{173BA3C5-38BF-43A2-9148-5E27211B1136}">
      <dgm:prSet/>
      <dgm:spPr/>
      <dgm:t>
        <a:bodyPr/>
        <a:lstStyle/>
        <a:p>
          <a:endParaRPr lang="zh-TW" altLang="en-US"/>
        </a:p>
      </dgm:t>
    </dgm:pt>
    <dgm:pt modelId="{DFDCAD13-5C1F-4319-B4D7-C8006E2C82C2}" type="pres">
      <dgm:prSet presAssocID="{7ED6ADB2-3812-435A-9FB4-73E379A33E1A}" presName="composite" presStyleCnt="0">
        <dgm:presLayoutVars>
          <dgm:chMax val="5"/>
          <dgm:dir val="rev"/>
          <dgm:animLvl val="ctr"/>
          <dgm:resizeHandles val="exact"/>
        </dgm:presLayoutVars>
      </dgm:prSet>
      <dgm:spPr/>
      <dgm:t>
        <a:bodyPr/>
        <a:lstStyle/>
        <a:p>
          <a:endParaRPr lang="zh-TW" altLang="en-US"/>
        </a:p>
      </dgm:t>
    </dgm:pt>
    <dgm:pt modelId="{DC2C7799-707C-4D5B-A41D-ADB5DF4D6441}" type="pres">
      <dgm:prSet presAssocID="{7ED6ADB2-3812-435A-9FB4-73E379A33E1A}" presName="cycle" presStyleCnt="0"/>
      <dgm:spPr/>
    </dgm:pt>
    <dgm:pt modelId="{3FAF524A-738B-4E72-A8B1-649263F822FB}" type="pres">
      <dgm:prSet presAssocID="{7ED6ADB2-3812-435A-9FB4-73E379A33E1A}" presName="centerShape" presStyleCnt="0"/>
      <dgm:spPr/>
    </dgm:pt>
    <dgm:pt modelId="{6B36B966-DB49-4395-89DA-1CD83656E804}" type="pres">
      <dgm:prSet presAssocID="{7ED6ADB2-3812-435A-9FB4-73E379A33E1A}" presName="connSite" presStyleLbl="node1" presStyleIdx="0" presStyleCnt="4"/>
      <dgm:spPr/>
    </dgm:pt>
    <dgm:pt modelId="{C9B2338D-DDF5-45EC-B626-A75A021FC6CC}" type="pres">
      <dgm:prSet presAssocID="{7ED6ADB2-3812-435A-9FB4-73E379A33E1A}" presName="visible" presStyleLbl="node1" presStyleIdx="0" presStyleCnt="4" custScaleX="84437" custScaleY="76552" custLinFactNeighborX="3504" custLinFactNeighborY="-1747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xmlns="" r:embed="rId2"/>
              </a:ext>
            </a:extLst>
          </a:blip>
          <a:srcRect/>
          <a:stretch>
            <a:fillRect t="-5000" b="-5000"/>
          </a:stretch>
        </a:blipFill>
      </dgm:spPr>
      <dgm:extLst>
        <a:ext uri="{E40237B7-FDA0-4F09-8148-C483321AD2D9}">
          <dgm14:cNvPr xmlns:dgm14="http://schemas.microsoft.com/office/drawing/2010/diagram" id="0" name="" descr="網際網路"/>
        </a:ext>
      </dgm:extLst>
    </dgm:pt>
    <dgm:pt modelId="{7CF97B4E-AF54-436A-B6C4-930B1B517BAE}" type="pres">
      <dgm:prSet presAssocID="{4B3B9922-A544-42E9-9379-4A8BDE539899}" presName="Name25" presStyleLbl="parChTrans1D1" presStyleIdx="0" presStyleCnt="3"/>
      <dgm:spPr/>
      <dgm:t>
        <a:bodyPr/>
        <a:lstStyle/>
        <a:p>
          <a:endParaRPr lang="zh-TW" altLang="en-US"/>
        </a:p>
      </dgm:t>
    </dgm:pt>
    <dgm:pt modelId="{1F5135EE-C96A-4031-AA66-5CCF0103601C}" type="pres">
      <dgm:prSet presAssocID="{B5C42121-65D9-4844-9E6D-556719FA65B2}" presName="node" presStyleCnt="0"/>
      <dgm:spPr/>
    </dgm:pt>
    <dgm:pt modelId="{5CEFD245-8AFF-49C0-9500-779FB629B04C}" type="pres">
      <dgm:prSet presAssocID="{B5C42121-65D9-4844-9E6D-556719FA65B2}" presName="parentNode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953D0AB2-7819-4A09-AEC3-5ACBB82B89F7}" type="pres">
      <dgm:prSet presAssocID="{B5C42121-65D9-4844-9E6D-556719FA65B2}" presName="childNode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CC067127-B1E7-45BA-8CA1-C5A17A4097C3}" type="pres">
      <dgm:prSet presAssocID="{3E4275A0-2E5A-4136-87BD-B9C45D8FD324}" presName="Name25" presStyleLbl="parChTrans1D1" presStyleIdx="1" presStyleCnt="3"/>
      <dgm:spPr/>
      <dgm:t>
        <a:bodyPr/>
        <a:lstStyle/>
        <a:p>
          <a:endParaRPr lang="zh-TW" altLang="en-US"/>
        </a:p>
      </dgm:t>
    </dgm:pt>
    <dgm:pt modelId="{4EB0645E-6F81-457F-B324-716079465930}" type="pres">
      <dgm:prSet presAssocID="{514BA3CF-1EA6-4461-92C6-84D4384D1E5D}" presName="node" presStyleCnt="0"/>
      <dgm:spPr/>
    </dgm:pt>
    <dgm:pt modelId="{8DDC7D01-9E98-4AB9-A130-2794FE6331E3}" type="pres">
      <dgm:prSet presAssocID="{514BA3CF-1EA6-4461-92C6-84D4384D1E5D}" presName="parentNode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75068429-6555-44D0-9629-7CE6B29F02C6}" type="pres">
      <dgm:prSet presAssocID="{514BA3CF-1EA6-4461-92C6-84D4384D1E5D}" presName="childNode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D5F3408E-41BD-44F7-89F4-C4B95A22B556}" type="pres">
      <dgm:prSet presAssocID="{A4CD40D3-F6E3-4B5C-B93D-0FD8FA353011}" presName="Name25" presStyleLbl="parChTrans1D1" presStyleIdx="2" presStyleCnt="3"/>
      <dgm:spPr/>
      <dgm:t>
        <a:bodyPr/>
        <a:lstStyle/>
        <a:p>
          <a:endParaRPr lang="zh-TW" altLang="en-US"/>
        </a:p>
      </dgm:t>
    </dgm:pt>
    <dgm:pt modelId="{5151768D-8DED-43E8-B049-29C433ACDFD7}" type="pres">
      <dgm:prSet presAssocID="{C2759D9F-B96E-4950-A18B-35A912DA0524}" presName="node" presStyleCnt="0"/>
      <dgm:spPr/>
    </dgm:pt>
    <dgm:pt modelId="{55667013-1AE6-4189-B619-41D447DB1DA6}" type="pres">
      <dgm:prSet presAssocID="{C2759D9F-B96E-4950-A18B-35A912DA0524}" presName="parentNode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17CD3649-F2A9-40E4-B5D2-D895D122A3C9}" type="pres">
      <dgm:prSet presAssocID="{C2759D9F-B96E-4950-A18B-35A912DA0524}" presName="childNode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zh-TW" altLang="en-US"/>
        </a:p>
      </dgm:t>
    </dgm:pt>
  </dgm:ptLst>
  <dgm:cxnLst>
    <dgm:cxn modelId="{3438F4DA-5532-4130-B492-A9F979DA4058}" type="presOf" srcId="{7ED6ADB2-3812-435A-9FB4-73E379A33E1A}" destId="{DFDCAD13-5C1F-4319-B4D7-C8006E2C82C2}" srcOrd="0" destOrd="0" presId="urn:microsoft.com/office/officeart/2005/8/layout/radial2"/>
    <dgm:cxn modelId="{3A547868-7B5C-43DA-B0DA-E1D34E7FB581}" type="presOf" srcId="{4B3B9922-A544-42E9-9379-4A8BDE539899}" destId="{7CF97B4E-AF54-436A-B6C4-930B1B517BAE}" srcOrd="0" destOrd="0" presId="urn:microsoft.com/office/officeart/2005/8/layout/radial2"/>
    <dgm:cxn modelId="{B002DC7B-1CC6-473F-AF05-3144C044D6CA}" srcId="{514BA3CF-1EA6-4461-92C6-84D4384D1E5D}" destId="{5199E5C8-02F2-405A-B388-063273B3902B}" srcOrd="0" destOrd="0" parTransId="{B5DE08BD-7401-4B19-9E46-0A99A1EA77E7}" sibTransId="{50200143-F254-451E-B34D-EF9FA5EE6E4F}"/>
    <dgm:cxn modelId="{ED9709CD-D2B3-4DED-BB21-F301113031DA}" type="presOf" srcId="{A4CD40D3-F6E3-4B5C-B93D-0FD8FA353011}" destId="{D5F3408E-41BD-44F7-89F4-C4B95A22B556}" srcOrd="0" destOrd="0" presId="urn:microsoft.com/office/officeart/2005/8/layout/radial2"/>
    <dgm:cxn modelId="{648AB730-7D7A-4B24-8950-09AF87C68A62}" type="presOf" srcId="{E1F9FFED-AB38-49EF-A495-AB18915CE721}" destId="{953D0AB2-7819-4A09-AEC3-5ACBB82B89F7}" srcOrd="0" destOrd="0" presId="urn:microsoft.com/office/officeart/2005/8/layout/radial2"/>
    <dgm:cxn modelId="{5AE1534B-D3B0-4AFE-A43C-949C097D946A}" srcId="{7ED6ADB2-3812-435A-9FB4-73E379A33E1A}" destId="{B5C42121-65D9-4844-9E6D-556719FA65B2}" srcOrd="0" destOrd="0" parTransId="{4B3B9922-A544-42E9-9379-4A8BDE539899}" sibTransId="{A57F0E39-DB59-4D45-86D4-5CF28C9D9E64}"/>
    <dgm:cxn modelId="{B4B361D9-0475-4500-97E1-EDFD87C7AF6A}" srcId="{B5C42121-65D9-4844-9E6D-556719FA65B2}" destId="{E1F9FFED-AB38-49EF-A495-AB18915CE721}" srcOrd="0" destOrd="0" parTransId="{1D307E82-7703-4312-B125-156414B89149}" sibTransId="{E0DB1B2A-F3EF-4089-BFD5-0933158D68B1}"/>
    <dgm:cxn modelId="{A6F7BE15-0420-4174-94E1-E01F36454E76}" type="presOf" srcId="{C0CFD99C-B180-4199-BC99-47672916B113}" destId="{17CD3649-F2A9-40E4-B5D2-D895D122A3C9}" srcOrd="0" destOrd="0" presId="urn:microsoft.com/office/officeart/2005/8/layout/radial2"/>
    <dgm:cxn modelId="{B3AAC9FE-67F2-4C3C-BF81-EA34A30C0C6F}" type="presOf" srcId="{B5C42121-65D9-4844-9E6D-556719FA65B2}" destId="{5CEFD245-8AFF-49C0-9500-779FB629B04C}" srcOrd="0" destOrd="0" presId="urn:microsoft.com/office/officeart/2005/8/layout/radial2"/>
    <dgm:cxn modelId="{99FCBD95-DB73-492D-893D-4AE48DF769F3}" srcId="{7ED6ADB2-3812-435A-9FB4-73E379A33E1A}" destId="{C2759D9F-B96E-4950-A18B-35A912DA0524}" srcOrd="2" destOrd="0" parTransId="{A4CD40D3-F6E3-4B5C-B93D-0FD8FA353011}" sibTransId="{5E5BC6CE-8475-4821-BF6B-36D150CED025}"/>
    <dgm:cxn modelId="{FAFE6EC1-C1EA-4755-9F12-DA5503724FA3}" type="presOf" srcId="{3E4275A0-2E5A-4136-87BD-B9C45D8FD324}" destId="{CC067127-B1E7-45BA-8CA1-C5A17A4097C3}" srcOrd="0" destOrd="0" presId="urn:microsoft.com/office/officeart/2005/8/layout/radial2"/>
    <dgm:cxn modelId="{15F0F823-BF79-4B76-9FDB-DC6B800AFFD8}" srcId="{7ED6ADB2-3812-435A-9FB4-73E379A33E1A}" destId="{514BA3CF-1EA6-4461-92C6-84D4384D1E5D}" srcOrd="1" destOrd="0" parTransId="{3E4275A0-2E5A-4136-87BD-B9C45D8FD324}" sibTransId="{FF246446-A71B-46D7-BEB5-C1C4A6EC6DA1}"/>
    <dgm:cxn modelId="{EB90F0F5-43CA-479B-BFE8-0F002E6886D9}" type="presOf" srcId="{5199E5C8-02F2-405A-B388-063273B3902B}" destId="{75068429-6555-44D0-9629-7CE6B29F02C6}" srcOrd="0" destOrd="0" presId="urn:microsoft.com/office/officeart/2005/8/layout/radial2"/>
    <dgm:cxn modelId="{1953D3F1-85C1-4D3A-A19D-4FD3048B6171}" type="presOf" srcId="{514BA3CF-1EA6-4461-92C6-84D4384D1E5D}" destId="{8DDC7D01-9E98-4AB9-A130-2794FE6331E3}" srcOrd="0" destOrd="0" presId="urn:microsoft.com/office/officeart/2005/8/layout/radial2"/>
    <dgm:cxn modelId="{173BA3C5-38BF-43A2-9148-5E27211B1136}" srcId="{C2759D9F-B96E-4950-A18B-35A912DA0524}" destId="{C0CFD99C-B180-4199-BC99-47672916B113}" srcOrd="0" destOrd="0" parTransId="{229C48D8-E57C-4821-B06C-C27DA6F0D99B}" sibTransId="{7143366E-466A-4D6B-BB8C-F686036FDC07}"/>
    <dgm:cxn modelId="{49A84CDA-0682-4FDE-BF1F-CECC98D45451}" type="presOf" srcId="{C2759D9F-B96E-4950-A18B-35A912DA0524}" destId="{55667013-1AE6-4189-B619-41D447DB1DA6}" srcOrd="0" destOrd="0" presId="urn:microsoft.com/office/officeart/2005/8/layout/radial2"/>
    <dgm:cxn modelId="{BFDB4A45-A903-4A5F-A7B8-3B1BE4675365}" type="presParOf" srcId="{DFDCAD13-5C1F-4319-B4D7-C8006E2C82C2}" destId="{DC2C7799-707C-4D5B-A41D-ADB5DF4D6441}" srcOrd="0" destOrd="0" presId="urn:microsoft.com/office/officeart/2005/8/layout/radial2"/>
    <dgm:cxn modelId="{A92A078E-40CF-48BC-8987-DEB889DCCDC9}" type="presParOf" srcId="{DC2C7799-707C-4D5B-A41D-ADB5DF4D6441}" destId="{3FAF524A-738B-4E72-A8B1-649263F822FB}" srcOrd="0" destOrd="0" presId="urn:microsoft.com/office/officeart/2005/8/layout/radial2"/>
    <dgm:cxn modelId="{9EEA57FC-FE9E-4459-BD28-01C2A660377C}" type="presParOf" srcId="{3FAF524A-738B-4E72-A8B1-649263F822FB}" destId="{6B36B966-DB49-4395-89DA-1CD83656E804}" srcOrd="0" destOrd="0" presId="urn:microsoft.com/office/officeart/2005/8/layout/radial2"/>
    <dgm:cxn modelId="{1EEF5D90-B315-4BA6-A0B3-4E194F1C4291}" type="presParOf" srcId="{3FAF524A-738B-4E72-A8B1-649263F822FB}" destId="{C9B2338D-DDF5-45EC-B626-A75A021FC6CC}" srcOrd="1" destOrd="0" presId="urn:microsoft.com/office/officeart/2005/8/layout/radial2"/>
    <dgm:cxn modelId="{33FA27E2-1571-4C32-BF17-0B25A2E780B7}" type="presParOf" srcId="{DC2C7799-707C-4D5B-A41D-ADB5DF4D6441}" destId="{7CF97B4E-AF54-436A-B6C4-930B1B517BAE}" srcOrd="1" destOrd="0" presId="urn:microsoft.com/office/officeart/2005/8/layout/radial2"/>
    <dgm:cxn modelId="{64636B12-61B5-4AC9-B304-2A7B86F26F6D}" type="presParOf" srcId="{DC2C7799-707C-4D5B-A41D-ADB5DF4D6441}" destId="{1F5135EE-C96A-4031-AA66-5CCF0103601C}" srcOrd="2" destOrd="0" presId="urn:microsoft.com/office/officeart/2005/8/layout/radial2"/>
    <dgm:cxn modelId="{B3FBD744-0C78-436F-ACA0-56A45987923D}" type="presParOf" srcId="{1F5135EE-C96A-4031-AA66-5CCF0103601C}" destId="{5CEFD245-8AFF-49C0-9500-779FB629B04C}" srcOrd="0" destOrd="0" presId="urn:microsoft.com/office/officeart/2005/8/layout/radial2"/>
    <dgm:cxn modelId="{8648EF7B-871A-44EC-A42C-0040FE40DA84}" type="presParOf" srcId="{1F5135EE-C96A-4031-AA66-5CCF0103601C}" destId="{953D0AB2-7819-4A09-AEC3-5ACBB82B89F7}" srcOrd="1" destOrd="0" presId="urn:microsoft.com/office/officeart/2005/8/layout/radial2"/>
    <dgm:cxn modelId="{C48DCB6A-80FC-4AFD-8A80-0F2DBE2628DE}" type="presParOf" srcId="{DC2C7799-707C-4D5B-A41D-ADB5DF4D6441}" destId="{CC067127-B1E7-45BA-8CA1-C5A17A4097C3}" srcOrd="3" destOrd="0" presId="urn:microsoft.com/office/officeart/2005/8/layout/radial2"/>
    <dgm:cxn modelId="{8B663B54-FCC1-4D00-849F-8DDAFBF80299}" type="presParOf" srcId="{DC2C7799-707C-4D5B-A41D-ADB5DF4D6441}" destId="{4EB0645E-6F81-457F-B324-716079465930}" srcOrd="4" destOrd="0" presId="urn:microsoft.com/office/officeart/2005/8/layout/radial2"/>
    <dgm:cxn modelId="{96D505D3-36AC-4BFC-B589-EBAF7DE2AB0C}" type="presParOf" srcId="{4EB0645E-6F81-457F-B324-716079465930}" destId="{8DDC7D01-9E98-4AB9-A130-2794FE6331E3}" srcOrd="0" destOrd="0" presId="urn:microsoft.com/office/officeart/2005/8/layout/radial2"/>
    <dgm:cxn modelId="{4DA11AB7-C0F0-46F2-A934-F25AAD9C3277}" type="presParOf" srcId="{4EB0645E-6F81-457F-B324-716079465930}" destId="{75068429-6555-44D0-9629-7CE6B29F02C6}" srcOrd="1" destOrd="0" presId="urn:microsoft.com/office/officeart/2005/8/layout/radial2"/>
    <dgm:cxn modelId="{2D43BE2E-F108-4071-ACB1-A69C9373B79E}" type="presParOf" srcId="{DC2C7799-707C-4D5B-A41D-ADB5DF4D6441}" destId="{D5F3408E-41BD-44F7-89F4-C4B95A22B556}" srcOrd="5" destOrd="0" presId="urn:microsoft.com/office/officeart/2005/8/layout/radial2"/>
    <dgm:cxn modelId="{96BC8DFA-8A21-4E36-A479-75E73CD042A5}" type="presParOf" srcId="{DC2C7799-707C-4D5B-A41D-ADB5DF4D6441}" destId="{5151768D-8DED-43E8-B049-29C433ACDFD7}" srcOrd="6" destOrd="0" presId="urn:microsoft.com/office/officeart/2005/8/layout/radial2"/>
    <dgm:cxn modelId="{637C6D12-D6C8-47DD-8079-9A9B5B18ED22}" type="presParOf" srcId="{5151768D-8DED-43E8-B049-29C433ACDFD7}" destId="{55667013-1AE6-4189-B619-41D447DB1DA6}" srcOrd="0" destOrd="0" presId="urn:microsoft.com/office/officeart/2005/8/layout/radial2"/>
    <dgm:cxn modelId="{681D6975-9D30-4564-B54B-B52FC10842F7}" type="presParOf" srcId="{5151768D-8DED-43E8-B049-29C433ACDFD7}" destId="{17CD3649-F2A9-40E4-B5D2-D895D122A3C9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2CBF99-D0CA-449D-8DDC-6CCC2E5AD635}">
      <dsp:nvSpPr>
        <dsp:cNvPr id="0" name=""/>
        <dsp:cNvSpPr/>
      </dsp:nvSpPr>
      <dsp:spPr>
        <a:xfrm>
          <a:off x="0" y="345281"/>
          <a:ext cx="1321593" cy="5286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64319" y="345281"/>
        <a:ext cx="792956" cy="528637"/>
      </dsp:txXfrm>
    </dsp:sp>
    <dsp:sp modelId="{6090789B-9A6B-41A0-BDA2-D1BBDE630F96}">
      <dsp:nvSpPr>
        <dsp:cNvPr id="0" name=""/>
        <dsp:cNvSpPr/>
      </dsp:nvSpPr>
      <dsp:spPr>
        <a:xfrm>
          <a:off x="1189434" y="345281"/>
          <a:ext cx="1321593" cy="5286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453753" y="345281"/>
        <a:ext cx="792956" cy="528637"/>
      </dsp:txXfrm>
    </dsp:sp>
    <dsp:sp modelId="{263D6CFA-9500-4493-BC13-4F93E2578FC6}">
      <dsp:nvSpPr>
        <dsp:cNvPr id="0" name=""/>
        <dsp:cNvSpPr/>
      </dsp:nvSpPr>
      <dsp:spPr>
        <a:xfrm>
          <a:off x="2378868" y="345281"/>
          <a:ext cx="1321593" cy="5286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643187" y="345281"/>
        <a:ext cx="792956" cy="528637"/>
      </dsp:txXfrm>
    </dsp:sp>
    <dsp:sp modelId="{5F42E851-0E2D-4A7C-8B67-8FA050D06139}">
      <dsp:nvSpPr>
        <dsp:cNvPr id="0" name=""/>
        <dsp:cNvSpPr/>
      </dsp:nvSpPr>
      <dsp:spPr>
        <a:xfrm>
          <a:off x="3568303" y="345281"/>
          <a:ext cx="1321593" cy="5286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832622" y="345281"/>
        <a:ext cx="792956" cy="528637"/>
      </dsp:txXfrm>
    </dsp:sp>
    <dsp:sp modelId="{F20428E3-C47F-4E34-B3F9-DB08C681A934}">
      <dsp:nvSpPr>
        <dsp:cNvPr id="0" name=""/>
        <dsp:cNvSpPr/>
      </dsp:nvSpPr>
      <dsp:spPr>
        <a:xfrm>
          <a:off x="4757737" y="345281"/>
          <a:ext cx="1321593" cy="5286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0" i="0" u="none" strike="noStrike" kern="1200" dirty="0" smtClean="0">
              <a:solidFill>
                <a:srgbClr val="0000FF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rgbClr val="0000FF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5022056" y="345281"/>
        <a:ext cx="792956" cy="528637"/>
      </dsp:txXfrm>
    </dsp:sp>
    <dsp:sp modelId="{C5B3F856-D2E0-4E89-A246-619C14866B4A}">
      <dsp:nvSpPr>
        <dsp:cNvPr id="0" name=""/>
        <dsp:cNvSpPr/>
      </dsp:nvSpPr>
      <dsp:spPr>
        <a:xfrm>
          <a:off x="5947171" y="345281"/>
          <a:ext cx="1321593" cy="5286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6211490" y="345281"/>
        <a:ext cx="792956" cy="528637"/>
      </dsp:txXfrm>
    </dsp:sp>
    <dsp:sp modelId="{8C011383-88CC-4EC9-A47B-C3959D98D6B4}">
      <dsp:nvSpPr>
        <dsp:cNvPr id="0" name=""/>
        <dsp:cNvSpPr/>
      </dsp:nvSpPr>
      <dsp:spPr>
        <a:xfrm>
          <a:off x="7136606" y="345281"/>
          <a:ext cx="1321593" cy="5286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7400925" y="345281"/>
        <a:ext cx="792956" cy="5286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D00A11-1568-485B-A74A-C50337868EF0}">
      <dsp:nvSpPr>
        <dsp:cNvPr id="0" name=""/>
        <dsp:cNvSpPr/>
      </dsp:nvSpPr>
      <dsp:spPr>
        <a:xfrm>
          <a:off x="0" y="0"/>
          <a:ext cx="1450995" cy="209550"/>
        </a:xfrm>
        <a:prstGeom prst="homePlat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M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0"/>
        <a:ext cx="1398608" cy="209550"/>
      </dsp:txXfrm>
    </dsp:sp>
    <dsp:sp modelId="{7C85B74C-ECE0-4C05-8A71-945DDBE38942}">
      <dsp:nvSpPr>
        <dsp:cNvPr id="0" name=""/>
        <dsp:cNvSpPr/>
      </dsp:nvSpPr>
      <dsp:spPr>
        <a:xfrm>
          <a:off x="1158788" y="0"/>
          <a:ext cx="1450995" cy="209550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Function Team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263563" y="0"/>
        <a:ext cx="1241445" cy="209550"/>
      </dsp:txXfrm>
    </dsp:sp>
    <dsp:sp modelId="{9910CA39-92DC-4DE3-B510-B6251E3F3B7D}">
      <dsp:nvSpPr>
        <dsp:cNvPr id="0" name=""/>
        <dsp:cNvSpPr/>
      </dsp:nvSpPr>
      <dsp:spPr>
        <a:xfrm>
          <a:off x="2319584" y="0"/>
          <a:ext cx="1450995" cy="209550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M/Function Team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424359" y="0"/>
        <a:ext cx="1241445" cy="209550"/>
      </dsp:txXfrm>
    </dsp:sp>
    <dsp:sp modelId="{2AB8F2A1-1A90-4E9E-BD60-BCDCF5C87DA4}">
      <dsp:nvSpPr>
        <dsp:cNvPr id="0" name=""/>
        <dsp:cNvSpPr/>
      </dsp:nvSpPr>
      <dsp:spPr>
        <a:xfrm>
          <a:off x="3480381" y="0"/>
          <a:ext cx="1450995" cy="209550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CC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585156" y="0"/>
        <a:ext cx="1241445" cy="209550"/>
      </dsp:txXfrm>
    </dsp:sp>
    <dsp:sp modelId="{AFE53BDE-0BBA-434C-8693-FDE5D590852C}">
      <dsp:nvSpPr>
        <dsp:cNvPr id="0" name=""/>
        <dsp:cNvSpPr/>
      </dsp:nvSpPr>
      <dsp:spPr>
        <a:xfrm>
          <a:off x="4614529" y="0"/>
          <a:ext cx="1450995" cy="209550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M/PCC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4719304" y="0"/>
        <a:ext cx="1241445" cy="209550"/>
      </dsp:txXfrm>
    </dsp:sp>
    <dsp:sp modelId="{7961CBB7-DE2D-4B75-83DD-CB63B6296674}">
      <dsp:nvSpPr>
        <dsp:cNvPr id="0" name=""/>
        <dsp:cNvSpPr/>
      </dsp:nvSpPr>
      <dsp:spPr>
        <a:xfrm>
          <a:off x="5801974" y="0"/>
          <a:ext cx="1450995" cy="209550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M/PCC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5906749" y="0"/>
        <a:ext cx="1241445" cy="209550"/>
      </dsp:txXfrm>
    </dsp:sp>
    <dsp:sp modelId="{1DF42B00-E751-4A80-8C36-4FA66430636A}">
      <dsp:nvSpPr>
        <dsp:cNvPr id="0" name=""/>
        <dsp:cNvSpPr/>
      </dsp:nvSpPr>
      <dsp:spPr>
        <a:xfrm>
          <a:off x="6962771" y="0"/>
          <a:ext cx="1450995" cy="209550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CC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7067546" y="0"/>
        <a:ext cx="1241445" cy="20955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BBE67A-41E2-4245-BB07-6848B70A9125}">
      <dsp:nvSpPr>
        <dsp:cNvPr id="0" name=""/>
        <dsp:cNvSpPr/>
      </dsp:nvSpPr>
      <dsp:spPr>
        <a:xfrm>
          <a:off x="1671" y="315815"/>
          <a:ext cx="1487620" cy="584836"/>
        </a:xfrm>
        <a:prstGeom prst="chevron">
          <a:avLst/>
        </a:prstGeom>
        <a:solidFill>
          <a:srgbClr val="FADBA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94089" y="315815"/>
        <a:ext cx="902784" cy="584836"/>
      </dsp:txXfrm>
    </dsp:sp>
    <dsp:sp modelId="{F7634700-DA0D-4659-B2FF-1C08A3AE97BF}">
      <dsp:nvSpPr>
        <dsp:cNvPr id="0" name=""/>
        <dsp:cNvSpPr/>
      </dsp:nvSpPr>
      <dsp:spPr>
        <a:xfrm>
          <a:off x="1340529" y="315815"/>
          <a:ext cx="1487620" cy="584836"/>
        </a:xfrm>
        <a:prstGeom prst="chevron">
          <a:avLst/>
        </a:prstGeom>
        <a:solidFill>
          <a:srgbClr val="FADBA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632947" y="315815"/>
        <a:ext cx="902784" cy="584836"/>
      </dsp:txXfrm>
    </dsp:sp>
    <dsp:sp modelId="{84F03A14-6BA3-48B7-9DDE-3F65AF39DAB2}">
      <dsp:nvSpPr>
        <dsp:cNvPr id="0" name=""/>
        <dsp:cNvSpPr/>
      </dsp:nvSpPr>
      <dsp:spPr>
        <a:xfrm>
          <a:off x="2679387" y="315815"/>
          <a:ext cx="1487620" cy="584836"/>
        </a:xfrm>
        <a:prstGeom prst="chevron">
          <a:avLst/>
        </a:prstGeom>
        <a:solidFill>
          <a:srgbClr val="FADBA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971805" y="315815"/>
        <a:ext cx="902784" cy="584836"/>
      </dsp:txXfrm>
    </dsp:sp>
    <dsp:sp modelId="{B4D21132-9630-432F-8D4A-A72E7CAE87DC}">
      <dsp:nvSpPr>
        <dsp:cNvPr id="0" name=""/>
        <dsp:cNvSpPr/>
      </dsp:nvSpPr>
      <dsp:spPr>
        <a:xfrm>
          <a:off x="4018245" y="315815"/>
          <a:ext cx="1487620" cy="584836"/>
        </a:xfrm>
        <a:prstGeom prst="chevron">
          <a:avLst/>
        </a:prstGeom>
        <a:solidFill>
          <a:srgbClr val="FADBA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4310663" y="315815"/>
        <a:ext cx="902784" cy="584836"/>
      </dsp:txXfrm>
    </dsp:sp>
    <dsp:sp modelId="{B303B658-D894-498A-B78F-0254C65DAA3E}">
      <dsp:nvSpPr>
        <dsp:cNvPr id="0" name=""/>
        <dsp:cNvSpPr/>
      </dsp:nvSpPr>
      <dsp:spPr>
        <a:xfrm>
          <a:off x="5357103" y="315815"/>
          <a:ext cx="1487620" cy="584836"/>
        </a:xfrm>
        <a:prstGeom prst="chevron">
          <a:avLst/>
        </a:prstGeom>
        <a:solidFill>
          <a:srgbClr val="FADBA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900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xx</a:t>
          </a:r>
          <a:endParaRPr lang="zh-TW" altLang="en-US" sz="9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5649521" y="315815"/>
        <a:ext cx="902784" cy="58483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D00A11-1568-485B-A74A-C50337868EF0}">
      <dsp:nvSpPr>
        <dsp:cNvPr id="0" name=""/>
        <dsp:cNvSpPr/>
      </dsp:nvSpPr>
      <dsp:spPr>
        <a:xfrm>
          <a:off x="0" y="0"/>
          <a:ext cx="1611557" cy="182108"/>
        </a:xfrm>
        <a:prstGeom prst="homePlat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M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0"/>
        <a:ext cx="1566030" cy="182108"/>
      </dsp:txXfrm>
    </dsp:sp>
    <dsp:sp modelId="{7C85B74C-ECE0-4C05-8A71-945DDBE38942}">
      <dsp:nvSpPr>
        <dsp:cNvPr id="0" name=""/>
        <dsp:cNvSpPr/>
      </dsp:nvSpPr>
      <dsp:spPr>
        <a:xfrm>
          <a:off x="1286472" y="0"/>
          <a:ext cx="1611557" cy="18210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Function Team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377526" y="0"/>
        <a:ext cx="1429449" cy="182108"/>
      </dsp:txXfrm>
    </dsp:sp>
    <dsp:sp modelId="{9910CA39-92DC-4DE3-B510-B6251E3F3B7D}">
      <dsp:nvSpPr>
        <dsp:cNvPr id="0" name=""/>
        <dsp:cNvSpPr/>
      </dsp:nvSpPr>
      <dsp:spPr>
        <a:xfrm>
          <a:off x="2575718" y="0"/>
          <a:ext cx="1611557" cy="18210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CC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666772" y="0"/>
        <a:ext cx="1429449" cy="182108"/>
      </dsp:txXfrm>
    </dsp:sp>
    <dsp:sp modelId="{2AB8F2A1-1A90-4E9E-BD60-BCDCF5C87DA4}">
      <dsp:nvSpPr>
        <dsp:cNvPr id="0" name=""/>
        <dsp:cNvSpPr/>
      </dsp:nvSpPr>
      <dsp:spPr>
        <a:xfrm>
          <a:off x="3864964" y="0"/>
          <a:ext cx="1611557" cy="18210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DL System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956018" y="0"/>
        <a:ext cx="1429449" cy="182108"/>
      </dsp:txXfrm>
    </dsp:sp>
    <dsp:sp modelId="{1DF42B00-E751-4A80-8C36-4FA66430636A}">
      <dsp:nvSpPr>
        <dsp:cNvPr id="0" name=""/>
        <dsp:cNvSpPr/>
      </dsp:nvSpPr>
      <dsp:spPr>
        <a:xfrm>
          <a:off x="5154210" y="0"/>
          <a:ext cx="1611557" cy="18210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100" kern="1200" dirty="0">
              <a:latin typeface="Calibri" panose="020F0502020204030204" pitchFamily="34" charset="0"/>
              <a:cs typeface="Calibri" panose="020F0502020204030204" pitchFamily="34" charset="0"/>
            </a:rPr>
            <a:t>PCC</a:t>
          </a:r>
          <a:endParaRPr lang="zh-TW" altLang="en-US" sz="11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5245264" y="0"/>
        <a:ext cx="1429449" cy="18210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F3408E-41BD-44F7-89F4-C4B95A22B556}">
      <dsp:nvSpPr>
        <dsp:cNvPr id="0" name=""/>
        <dsp:cNvSpPr/>
      </dsp:nvSpPr>
      <dsp:spPr>
        <a:xfrm rot="8279217">
          <a:off x="3164776" y="2388356"/>
          <a:ext cx="518992" cy="55458"/>
        </a:xfrm>
        <a:custGeom>
          <a:avLst/>
          <a:gdLst/>
          <a:ahLst/>
          <a:cxnLst/>
          <a:rect l="0" t="0" r="0" b="0"/>
          <a:pathLst>
            <a:path>
              <a:moveTo>
                <a:pt x="0" y="27729"/>
              </a:moveTo>
              <a:lnTo>
                <a:pt x="518992" y="27729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067127-B1E7-45BA-8CA1-C5A17A4097C3}">
      <dsp:nvSpPr>
        <dsp:cNvPr id="0" name=""/>
        <dsp:cNvSpPr/>
      </dsp:nvSpPr>
      <dsp:spPr>
        <a:xfrm rot="10800000">
          <a:off x="3035956" y="1686770"/>
          <a:ext cx="581120" cy="55458"/>
        </a:xfrm>
        <a:custGeom>
          <a:avLst/>
          <a:gdLst/>
          <a:ahLst/>
          <a:cxnLst/>
          <a:rect l="0" t="0" r="0" b="0"/>
          <a:pathLst>
            <a:path>
              <a:moveTo>
                <a:pt x="0" y="27729"/>
              </a:moveTo>
              <a:lnTo>
                <a:pt x="581120" y="27729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F97B4E-AF54-436A-B6C4-930B1B517BAE}">
      <dsp:nvSpPr>
        <dsp:cNvPr id="0" name=""/>
        <dsp:cNvSpPr/>
      </dsp:nvSpPr>
      <dsp:spPr>
        <a:xfrm rot="13320783">
          <a:off x="3164776" y="985184"/>
          <a:ext cx="518992" cy="55458"/>
        </a:xfrm>
        <a:custGeom>
          <a:avLst/>
          <a:gdLst/>
          <a:ahLst/>
          <a:cxnLst/>
          <a:rect l="0" t="0" r="0" b="0"/>
          <a:pathLst>
            <a:path>
              <a:moveTo>
                <a:pt x="0" y="27729"/>
              </a:moveTo>
              <a:lnTo>
                <a:pt x="518992" y="27729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B2338D-DDF5-45EC-B626-A75A021FC6CC}">
      <dsp:nvSpPr>
        <dsp:cNvPr id="0" name=""/>
        <dsp:cNvSpPr/>
      </dsp:nvSpPr>
      <dsp:spPr>
        <a:xfrm>
          <a:off x="3554882" y="1044367"/>
          <a:ext cx="1413786" cy="128176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xmlns="" r:embed="rId2"/>
              </a:ext>
            </a:extLst>
          </a:blip>
          <a:srcRect/>
          <a:stretch>
            <a:fillRect t="-5000" b="-5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CEFD245-8AFF-49C0-9500-779FB629B04C}">
      <dsp:nvSpPr>
        <dsp:cNvPr id="0" name=""/>
        <dsp:cNvSpPr/>
      </dsp:nvSpPr>
      <dsp:spPr>
        <a:xfrm>
          <a:off x="2355945" y="726"/>
          <a:ext cx="1004621" cy="1004621"/>
        </a:xfrm>
        <a:prstGeom prst="ellipse">
          <a:avLst/>
        </a:prstGeom>
        <a:gradFill rotWithShape="0">
          <a:gsLst>
            <a:gs pos="0">
              <a:schemeClr val="accent2">
                <a:hueOff val="-4800000"/>
                <a:satOff val="-16668"/>
                <a:lumOff val="20000"/>
                <a:alphaOff val="0"/>
                <a:shade val="51000"/>
                <a:satMod val="130000"/>
              </a:schemeClr>
            </a:gs>
            <a:gs pos="80000">
              <a:schemeClr val="accent2">
                <a:hueOff val="-4800000"/>
                <a:satOff val="-16668"/>
                <a:lumOff val="20000"/>
                <a:alphaOff val="0"/>
                <a:shade val="93000"/>
                <a:satMod val="130000"/>
              </a:schemeClr>
            </a:gs>
            <a:gs pos="100000">
              <a:schemeClr val="accent2">
                <a:hueOff val="-4800000"/>
                <a:satOff val="-16668"/>
                <a:lumOff val="2000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115" tIns="31115" rIns="31115" bIns="31115" numCol="1" spcCol="1270" anchor="ctr" anchorCtr="0">
          <a:noAutofit/>
        </a:bodyPr>
        <a:lstStyle/>
        <a:p>
          <a:pPr lvl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4900" b="1" kern="1200" dirty="0" err="1" smtClean="0">
              <a:solidFill>
                <a:schemeClr val="tx1"/>
              </a:solidFill>
            </a:rPr>
            <a:t>fn</a:t>
          </a:r>
          <a:endParaRPr lang="zh-TW" altLang="en-US" sz="4900" b="1" kern="1200" dirty="0">
            <a:solidFill>
              <a:schemeClr val="tx1"/>
            </a:solidFill>
          </a:endParaRPr>
        </a:p>
      </dsp:txBody>
      <dsp:txXfrm>
        <a:off x="2503068" y="147849"/>
        <a:ext cx="710375" cy="710375"/>
      </dsp:txXfrm>
    </dsp:sp>
    <dsp:sp modelId="{953D0AB2-7819-4A09-AEC3-5ACBB82B89F7}">
      <dsp:nvSpPr>
        <dsp:cNvPr id="0" name=""/>
        <dsp:cNvSpPr/>
      </dsp:nvSpPr>
      <dsp:spPr>
        <a:xfrm>
          <a:off x="849013" y="726"/>
          <a:ext cx="1506932" cy="10046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TW" sz="1200" i="1" kern="1200" dirty="0"/>
            <a:t>Input </a:t>
          </a:r>
          <a:r>
            <a:rPr lang="en-US" altLang="zh-TW" sz="1200" i="1" kern="1200" dirty="0" smtClean="0"/>
            <a:t>xxx</a:t>
          </a:r>
          <a:endParaRPr lang="zh-TW" altLang="en-US" sz="1200" i="1" kern="1200" dirty="0"/>
        </a:p>
      </dsp:txBody>
      <dsp:txXfrm>
        <a:off x="849013" y="726"/>
        <a:ext cx="1506932" cy="1004621"/>
      </dsp:txXfrm>
    </dsp:sp>
    <dsp:sp modelId="{8DDC7D01-9E98-4AB9-A130-2794FE6331E3}">
      <dsp:nvSpPr>
        <dsp:cNvPr id="0" name=""/>
        <dsp:cNvSpPr/>
      </dsp:nvSpPr>
      <dsp:spPr>
        <a:xfrm>
          <a:off x="2031334" y="1212189"/>
          <a:ext cx="1004621" cy="1004621"/>
        </a:xfrm>
        <a:prstGeom prst="ellipse">
          <a:avLst/>
        </a:prstGeom>
        <a:gradFill rotWithShape="0">
          <a:gsLst>
            <a:gs pos="0">
              <a:schemeClr val="accent2">
                <a:hueOff val="-9600000"/>
                <a:satOff val="-33335"/>
                <a:lumOff val="40001"/>
                <a:alphaOff val="0"/>
                <a:shade val="51000"/>
                <a:satMod val="130000"/>
              </a:schemeClr>
            </a:gs>
            <a:gs pos="80000">
              <a:schemeClr val="accent2">
                <a:hueOff val="-9600000"/>
                <a:satOff val="-33335"/>
                <a:lumOff val="40001"/>
                <a:alphaOff val="0"/>
                <a:shade val="93000"/>
                <a:satMod val="130000"/>
              </a:schemeClr>
            </a:gs>
            <a:gs pos="100000">
              <a:schemeClr val="accent2">
                <a:hueOff val="-9600000"/>
                <a:satOff val="-33335"/>
                <a:lumOff val="4000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115" tIns="31115" rIns="31115" bIns="31115" numCol="1" spcCol="1270" anchor="ctr" anchorCtr="0">
          <a:noAutofit/>
        </a:bodyPr>
        <a:lstStyle/>
        <a:p>
          <a:pPr lvl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4900" b="1" kern="1200" dirty="0" err="1" smtClean="0">
              <a:solidFill>
                <a:schemeClr val="tx1"/>
              </a:solidFill>
            </a:rPr>
            <a:t>fn</a:t>
          </a:r>
          <a:endParaRPr lang="zh-TW" altLang="en-US" sz="4900" b="1" kern="1200" dirty="0">
            <a:solidFill>
              <a:schemeClr val="tx1"/>
            </a:solidFill>
          </a:endParaRPr>
        </a:p>
      </dsp:txBody>
      <dsp:txXfrm>
        <a:off x="2178457" y="1359312"/>
        <a:ext cx="710375" cy="710375"/>
      </dsp:txXfrm>
    </dsp:sp>
    <dsp:sp modelId="{75068429-6555-44D0-9629-7CE6B29F02C6}">
      <dsp:nvSpPr>
        <dsp:cNvPr id="0" name=""/>
        <dsp:cNvSpPr/>
      </dsp:nvSpPr>
      <dsp:spPr>
        <a:xfrm>
          <a:off x="524402" y="1212189"/>
          <a:ext cx="1506932" cy="10046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TW" sz="1200" i="1" kern="1200" dirty="0"/>
            <a:t>Input </a:t>
          </a:r>
          <a:r>
            <a:rPr lang="en-US" altLang="zh-TW" sz="1200" i="1" kern="1200" dirty="0" err="1" smtClean="0"/>
            <a:t>xxxx</a:t>
          </a:r>
          <a:endParaRPr lang="zh-TW" altLang="en-US" sz="1200" i="1" kern="1200" dirty="0"/>
        </a:p>
      </dsp:txBody>
      <dsp:txXfrm>
        <a:off x="524402" y="1212189"/>
        <a:ext cx="1506932" cy="1004621"/>
      </dsp:txXfrm>
    </dsp:sp>
    <dsp:sp modelId="{55667013-1AE6-4189-B619-41D447DB1DA6}">
      <dsp:nvSpPr>
        <dsp:cNvPr id="0" name=""/>
        <dsp:cNvSpPr/>
      </dsp:nvSpPr>
      <dsp:spPr>
        <a:xfrm>
          <a:off x="2355945" y="2423652"/>
          <a:ext cx="1004621" cy="1004621"/>
        </a:xfrm>
        <a:prstGeom prst="ellipse">
          <a:avLst/>
        </a:prstGeom>
        <a:gradFill rotWithShape="0">
          <a:gsLst>
            <a:gs pos="0">
              <a:schemeClr val="accent2">
                <a:hueOff val="-14400000"/>
                <a:satOff val="-50003"/>
                <a:lumOff val="60001"/>
                <a:alphaOff val="0"/>
                <a:shade val="51000"/>
                <a:satMod val="130000"/>
              </a:schemeClr>
            </a:gs>
            <a:gs pos="80000">
              <a:schemeClr val="accent2">
                <a:hueOff val="-14400000"/>
                <a:satOff val="-50003"/>
                <a:lumOff val="60001"/>
                <a:alphaOff val="0"/>
                <a:shade val="93000"/>
                <a:satMod val="130000"/>
              </a:schemeClr>
            </a:gs>
            <a:gs pos="100000">
              <a:schemeClr val="accent2">
                <a:hueOff val="-14400000"/>
                <a:satOff val="-50003"/>
                <a:lumOff val="6000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115" tIns="31115" rIns="31115" bIns="31115" numCol="1" spcCol="1270" anchor="ctr" anchorCtr="0">
          <a:noAutofit/>
        </a:bodyPr>
        <a:lstStyle/>
        <a:p>
          <a:pPr lvl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4900" b="1" kern="1200" dirty="0" err="1" smtClean="0">
              <a:solidFill>
                <a:schemeClr val="tx1"/>
              </a:solidFill>
            </a:rPr>
            <a:t>fn</a:t>
          </a:r>
          <a:endParaRPr lang="zh-TW" altLang="en-US" sz="4900" b="1" kern="1200" dirty="0">
            <a:solidFill>
              <a:schemeClr val="tx1"/>
            </a:solidFill>
          </a:endParaRPr>
        </a:p>
      </dsp:txBody>
      <dsp:txXfrm>
        <a:off x="2503068" y="2570775"/>
        <a:ext cx="710375" cy="710375"/>
      </dsp:txXfrm>
    </dsp:sp>
    <dsp:sp modelId="{17CD3649-F2A9-40E4-B5D2-D895D122A3C9}">
      <dsp:nvSpPr>
        <dsp:cNvPr id="0" name=""/>
        <dsp:cNvSpPr/>
      </dsp:nvSpPr>
      <dsp:spPr>
        <a:xfrm>
          <a:off x="849013" y="2423652"/>
          <a:ext cx="1506932" cy="10046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TW" sz="1200" i="1" kern="1200" dirty="0"/>
            <a:t>Input </a:t>
          </a:r>
          <a:r>
            <a:rPr lang="en-US" altLang="zh-TW" sz="1200" i="1" kern="1200" dirty="0" err="1" smtClean="0"/>
            <a:t>xxxx</a:t>
          </a:r>
          <a:endParaRPr lang="zh-TW" altLang="en-US" sz="1200" i="1" kern="1200" dirty="0"/>
        </a:p>
      </dsp:txBody>
      <dsp:txXfrm>
        <a:off x="849013" y="2423652"/>
        <a:ext cx="1506932" cy="10046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5862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294" y="1"/>
            <a:ext cx="2945862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305"/>
            <a:ext cx="2945862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7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294" y="9429305"/>
            <a:ext cx="2945862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AF85DFC1-A479-4D08-9122-DC0D7286DBC1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6752968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5862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94" y="1"/>
            <a:ext cx="2945862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6125"/>
            <a:ext cx="6613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075" y="4714653"/>
            <a:ext cx="6613525" cy="4466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305"/>
            <a:ext cx="2945862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94" y="9429305"/>
            <a:ext cx="2945862" cy="49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1" sz="1300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C064BA9D-2804-4B04-94BC-96EB6646983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8854191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7.xml"/><Relationship Id="rId7" Type="http://schemas.openxmlformats.org/officeDocument/2006/relationships/image" Target="../media/image4.emf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" y="2434"/>
            <a:ext cx="9144000" cy="3562946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8" y="1221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8" y="1221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4E0482-1744-4C46-8F3E-BA314963A2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49270" y="1282319"/>
            <a:ext cx="8165360" cy="48474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15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581076" y="2112096"/>
            <a:ext cx="327201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50" b="1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■</a:t>
            </a:r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2452167" y="1645512"/>
            <a:ext cx="6620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2452168" y="1764563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tx1"/>
                </a:solidFill>
                <a:latin typeface="+mn-lt"/>
              </a:rPr>
              <a:t>Last Modified 2019/3/4 下午 10:37 Taipei Standard Time</a:t>
            </a:r>
            <a:endParaRPr lang="en-US" sz="6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2452167" y="1884830"/>
            <a:ext cx="16783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tx1"/>
                </a:solidFill>
                <a:latin typeface="+mn-lt"/>
              </a:rPr>
              <a:t>Printed 2/27/2019 3:25 PM Taipei Standard Time</a:t>
            </a:r>
            <a:endParaRPr lang="en-US" sz="6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2452166" y="3870293"/>
            <a:ext cx="6387034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05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7" name="圖片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987" y="4642339"/>
            <a:ext cx="1307243" cy="46714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169302" y="3657354"/>
            <a:ext cx="4655102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3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en-US" altLang="zh-TW" sz="2100" kern="0" dirty="0" err="1">
                <a:solidFill>
                  <a:srgbClr val="034C60"/>
                </a:solidFill>
                <a:latin typeface="Helvetica-Bold" pitchFamily="34" charset="0"/>
                <a:ea typeface="+mn-ea"/>
              </a:rPr>
              <a:t>Wistron</a:t>
            </a:r>
            <a:r>
              <a:rPr lang="en-US" altLang="zh-TW" sz="2100" kern="0" dirty="0">
                <a:solidFill>
                  <a:srgbClr val="034C60"/>
                </a:solidFill>
                <a:latin typeface="Helvetica-Bold" pitchFamily="34" charset="0"/>
                <a:ea typeface="+mn-ea"/>
              </a:rPr>
              <a:t> Technologies </a:t>
            </a:r>
            <a:endParaRPr lang="en-US" sz="2100" kern="0" dirty="0">
              <a:solidFill>
                <a:srgbClr val="034C60"/>
              </a:solidFill>
              <a:latin typeface="Helvetica-Bold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062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21DFFE9-663D-4B6A-A2A1-B7E0C7D0BD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1" i="0" baseline="0" dirty="0" err="1">
              <a:solidFill>
                <a:schemeClr val="accent4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rgbClr val="619DA6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投影片編號版面配置區 3"/>
          <p:cNvSpPr txBox="1">
            <a:spLocks/>
          </p:cNvSpPr>
          <p:nvPr userDrawn="1"/>
        </p:nvSpPr>
        <p:spPr>
          <a:xfrm>
            <a:off x="4419600" y="4928003"/>
            <a:ext cx="533400" cy="285750"/>
          </a:xfrm>
        </p:spPr>
        <p:txBody>
          <a:bodyPr/>
          <a:lstStyle>
            <a:defPPr>
              <a:defRPr lang="zh-TW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umimoji="1" sz="1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新細明體" charset="-120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Arial" charset="0"/>
                <a:ea typeface="新細明體" charset="-120"/>
                <a:cs typeface="+mn-cs"/>
              </a:defRPr>
            </a:lvl9pPr>
          </a:lstStyle>
          <a:p>
            <a:pPr>
              <a:defRPr/>
            </a:pPr>
            <a:fld id="{7A6790E0-BEF4-4832-A75A-9EE1100ED3A6}" type="slidenum">
              <a:rPr lang="en-US" altLang="zh-TW" sz="750" smtClean="0"/>
              <a:pPr>
                <a:defRPr/>
              </a:pPr>
              <a:t>‹#›</a:t>
            </a:fld>
            <a:endParaRPr lang="en-US" altLang="zh-TW" sz="750" dirty="0"/>
          </a:p>
        </p:txBody>
      </p:sp>
    </p:spTree>
    <p:extLst>
      <p:ext uri="{BB962C8B-B14F-4D97-AF65-F5344CB8AC3E}">
        <p14:creationId xmlns:p14="http://schemas.microsoft.com/office/powerpoint/2010/main" val="305790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結束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28" name="Picture 44" descr="C:\Users\D12070067\Desktop\wistron 2019(中簡版)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0"/>
            <a:ext cx="9144000" cy="515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4473223" y="4962938"/>
            <a:ext cx="438695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algn="ctr" defTabSz="445524"/>
            <a:fld id="{9B103555-F20C-4094-8E3B-2B8CF24E4B44}" type="slidenum">
              <a:rPr kumimoji="0" lang="zh-TW" altLang="en-US" sz="750" b="1" smtClean="0">
                <a:solidFill>
                  <a:schemeClr val="bg1"/>
                </a:solidFill>
                <a:latin typeface="Arial" pitchFamily="34" charset="0"/>
                <a:ea typeface="新細明體" pitchFamily="18" charset="-120"/>
                <a:cs typeface="Arial" pitchFamily="34" charset="0"/>
              </a:rPr>
              <a:pPr algn="ctr" defTabSz="445524"/>
              <a:t>‹#›</a:t>
            </a:fld>
            <a:endParaRPr kumimoji="0" lang="en-US" altLang="zh-TW" sz="750" b="1" dirty="0">
              <a:solidFill>
                <a:schemeClr val="bg1"/>
              </a:solidFill>
              <a:latin typeface="Arial" pitchFamily="34" charset="0"/>
              <a:ea typeface="新細明體" pitchFamily="18" charset="-120"/>
              <a:cs typeface="Arial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211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0" y="1211"/>
                        <a:ext cx="1587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6932" y="3407412"/>
            <a:ext cx="4631268" cy="1015663"/>
          </a:xfrm>
        </p:spPr>
        <p:txBody>
          <a:bodyPr wrap="square" anchor="ctr">
            <a:spAutoFit/>
          </a:bodyPr>
          <a:lstStyle>
            <a:lvl1pPr>
              <a:defRPr sz="6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Thanks!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76231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結束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:\Users\D12070067\Desktop\wistron 2019(英文版)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0"/>
            <a:ext cx="9144372" cy="515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0" y="1211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0" y="1211"/>
                        <a:ext cx="1587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3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6932" y="3407412"/>
            <a:ext cx="4631268" cy="1015663"/>
          </a:xfrm>
        </p:spPr>
        <p:txBody>
          <a:bodyPr wrap="square" anchor="ctr">
            <a:spAutoFit/>
          </a:bodyPr>
          <a:lstStyle>
            <a:lvl1pPr>
              <a:defRPr sz="6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Thanks!</a:t>
            </a:r>
            <a:endParaRPr lang="en-US" altLang="zh-TW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4473223" y="4962938"/>
            <a:ext cx="438695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algn="ctr" defTabSz="445524"/>
            <a:fld id="{9B103555-F20C-4094-8E3B-2B8CF24E4B44}" type="slidenum">
              <a:rPr kumimoji="0" lang="zh-TW" altLang="en-US" sz="750" b="1" smtClean="0">
                <a:solidFill>
                  <a:schemeClr val="bg1"/>
                </a:solidFill>
                <a:latin typeface="Arial" pitchFamily="34" charset="0"/>
                <a:ea typeface="新細明體" pitchFamily="18" charset="-120"/>
                <a:cs typeface="Arial" pitchFamily="34" charset="0"/>
              </a:rPr>
              <a:pPr algn="ctr" defTabSz="445524"/>
              <a:t>‹#›</a:t>
            </a:fld>
            <a:endParaRPr kumimoji="0" lang="en-US" altLang="zh-TW" sz="750" b="1" dirty="0">
              <a:solidFill>
                <a:schemeClr val="bg1"/>
              </a:solidFill>
              <a:latin typeface="Arial" pitchFamily="34" charset="0"/>
              <a:ea typeface="新細明體" pitchFamily="18" charset="-12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28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圖片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" y="0"/>
            <a:ext cx="9142043" cy="362348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 bwMode="auto">
          <a:xfrm>
            <a:off x="4336498" y="3638550"/>
            <a:ext cx="465510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spAutoFit/>
          </a:bodyPr>
          <a:lstStyle/>
          <a:p>
            <a:pPr algn="r"/>
            <a:r>
              <a:rPr lang="en-US" altLang="zh-TW" sz="2500" dirty="0">
                <a:solidFill>
                  <a:schemeClr val="accent5">
                    <a:lumMod val="2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500" dirty="0">
              <a:solidFill>
                <a:schemeClr val="accent5">
                  <a:lumMod val="25000"/>
                </a:schemeClr>
              </a:solidFill>
              <a:latin typeface="Helvetica-Bold" pitchFamily="34" charset="0"/>
              <a:ea typeface="+mn-ea"/>
            </a:endParaRPr>
          </a:p>
        </p:txBody>
      </p:sp>
      <p:pic>
        <p:nvPicPr>
          <p:cNvPr id="6" name="圖片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0557" y="4629150"/>
            <a:ext cx="1154843" cy="48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29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4"/>
          <p:cNvSpPr>
            <a:spLocks noGrp="1"/>
          </p:cNvSpPr>
          <p:nvPr>
            <p:ph type="title"/>
          </p:nvPr>
        </p:nvSpPr>
        <p:spPr>
          <a:xfrm>
            <a:off x="838200" y="209550"/>
            <a:ext cx="7924800" cy="584775"/>
          </a:xfrm>
        </p:spPr>
        <p:txBody>
          <a:bodyPr/>
          <a:lstStyle/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4262857" y="4857750"/>
            <a:ext cx="5334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790E0-BEF4-4832-A75A-9EE1100ED3A6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81696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5" y="2434"/>
            <a:ext cx="9144000" cy="3562946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9" y="1221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9" y="1221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4E0482-1744-4C46-8F3E-BA314963A2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8"/>
            <a:ext cx="161984" cy="12148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49271" y="1282327"/>
            <a:ext cx="8165360" cy="57720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151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581076" y="2112100"/>
            <a:ext cx="3272016" cy="3002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51" b="1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■</a:t>
            </a:r>
          </a:p>
        </p:txBody>
      </p:sp>
      <p:sp>
        <p:nvSpPr>
          <p:cNvPr id="22" name="Working Draft Text" hidden="1"/>
          <p:cNvSpPr txBox="1">
            <a:spLocks noChangeArrowheads="1"/>
          </p:cNvSpPr>
          <p:nvPr/>
        </p:nvSpPr>
        <p:spPr bwMode="auto">
          <a:xfrm>
            <a:off x="2452173" y="1645512"/>
            <a:ext cx="6620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="1" baseline="0" noProof="0" dirty="0">
                <a:solidFill>
                  <a:schemeClr val="tx1"/>
                </a:solidFill>
                <a:latin typeface="+mn-lt"/>
              </a:rPr>
              <a:t>WORKING DRAFT</a:t>
            </a:r>
          </a:p>
        </p:txBody>
      </p:sp>
      <p:sp>
        <p:nvSpPr>
          <p:cNvPr id="23" name="Working Draft" hidden="1"/>
          <p:cNvSpPr txBox="1">
            <a:spLocks noChangeArrowheads="1"/>
          </p:cNvSpPr>
          <p:nvPr/>
        </p:nvSpPr>
        <p:spPr bwMode="auto">
          <a:xfrm>
            <a:off x="2452174" y="1764567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tx1"/>
                </a:solidFill>
                <a:latin typeface="+mn-lt"/>
              </a:rPr>
              <a:t>Last Modified 2019/3/4 下午 10:37 Taipei Standard Time</a:t>
            </a:r>
            <a:endParaRPr lang="en-US" sz="6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>
            <a:off x="2452170" y="1884834"/>
            <a:ext cx="16783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tx1"/>
                </a:solidFill>
                <a:latin typeface="+mn-lt"/>
              </a:rPr>
              <a:t>Printed 2/27/2019 3:25 PM Taipei Standard Time</a:t>
            </a:r>
            <a:endParaRPr lang="en-US" sz="6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2452165" y="3870166"/>
            <a:ext cx="6387035" cy="161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lang="en-US" sz="1051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7" name="圖片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0989" y="4642347"/>
            <a:ext cx="1307243" cy="46714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CFB37C4-270B-4F3B-A159-978DD435E44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169306" y="3657354"/>
            <a:ext cx="4655103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30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en-US" altLang="zh-TW" sz="2100" kern="0">
                <a:solidFill>
                  <a:schemeClr val="accent4">
                    <a:lumMod val="75000"/>
                  </a:schemeClr>
                </a:solidFill>
                <a:latin typeface="Helvetica-Bold" pitchFamily="34" charset="0"/>
                <a:ea typeface="+mn-ea"/>
              </a:rPr>
              <a:t>Wistron Technologies </a:t>
            </a:r>
            <a:endParaRPr lang="en-US" sz="2100" kern="0" dirty="0">
              <a:solidFill>
                <a:schemeClr val="accent4">
                  <a:lumMod val="75000"/>
                </a:schemeClr>
              </a:solidFill>
              <a:latin typeface="Helvetica-Bold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9345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image" Target="../media/image3.jpg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theme" Target="../theme/theme1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image" Target="../media/image2.png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027985" y="192933"/>
            <a:ext cx="7928378" cy="418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055230" y="74979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039989" y="419299"/>
            <a:ext cx="792837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2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 userDrawn="1"/>
        </p:nvSpPr>
        <p:spPr bwMode="auto">
          <a:xfrm>
            <a:off x="161548" y="4714732"/>
            <a:ext cx="8808714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50" baseline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 userDrawn="1"/>
        </p:nvSpPr>
        <p:spPr bwMode="auto">
          <a:xfrm>
            <a:off x="161548" y="4949667"/>
            <a:ext cx="6717648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64344" indent="-464344" defTabSz="685145">
              <a:tabLst>
                <a:tab pos="550069" algn="l"/>
              </a:tabLst>
            </a:pPr>
            <a:r>
              <a:rPr lang="en-US" sz="750" baseline="0" dirty="0">
                <a:solidFill>
                  <a:schemeClr val="tx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649870" y="1370432"/>
            <a:ext cx="8306493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049417"/>
            <a:ext cx="4389768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8206671" y="215699"/>
            <a:ext cx="638175" cy="747713"/>
            <a:chOff x="4936" y="176"/>
            <a:chExt cx="402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2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7898696" y="215699"/>
            <a:ext cx="946150" cy="547688"/>
            <a:chOff x="4750" y="176"/>
            <a:chExt cx="596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8139833" y="215699"/>
            <a:ext cx="705396" cy="979887"/>
            <a:chOff x="7875175" y="286625"/>
            <a:chExt cx="705396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472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4"/>
              <a:ext cx="38472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472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472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472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00" name="Sticker" hidden="1"/>
          <p:cNvGrpSpPr/>
          <p:nvPr userDrawn="1"/>
        </p:nvGrpSpPr>
        <p:grpSpPr bwMode="auto">
          <a:xfrm>
            <a:off x="7903369" y="215698"/>
            <a:ext cx="1066895" cy="166199"/>
            <a:chOff x="7673880" y="285750"/>
            <a:chExt cx="1066895" cy="221598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930810" y="285750"/>
              <a:ext cx="809965" cy="2215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chemeClr val="tx2"/>
                </a:buClr>
              </a:pPr>
              <a:r>
                <a:rPr lang="en-US" sz="9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5" name="Moon" hidden="1"/>
          <p:cNvGrpSpPr/>
          <p:nvPr userDrawn="1">
            <p:custDataLst>
              <p:tags r:id="rId9"/>
            </p:custDataLst>
          </p:nvPr>
        </p:nvGrpSpPr>
        <p:grpSpPr bwMode="auto">
          <a:xfrm>
            <a:off x="6270421" y="577127"/>
            <a:ext cx="254000" cy="1905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Arc 106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1" name="CustomIcon">
            <a:extLst>
              <a:ext uri="{FF2B5EF4-FFF2-40B4-BE49-F238E27FC236}">
                <a16:creationId xmlns:a16="http://schemas.microsoft.com/office/drawing/2014/main" id="{F9578E0A-A54B-4817-8060-83BB8DFF6D41}"/>
              </a:ext>
            </a:extLst>
          </p:cNvPr>
          <p:cNvGrpSpPr>
            <a:grpSpLocks noChangeAspect="1"/>
          </p:cNvGrpSpPr>
          <p:nvPr userDrawn="1">
            <p:custDataLst>
              <p:tags r:id="rId10"/>
            </p:custDataLst>
          </p:nvPr>
        </p:nvGrpSpPr>
        <p:grpSpPr>
          <a:xfrm>
            <a:off x="175634" y="105678"/>
            <a:ext cx="474237" cy="353324"/>
            <a:chOff x="-3175" y="3175"/>
            <a:chExt cx="1200150" cy="1192213"/>
          </a:xfrm>
          <a:solidFill>
            <a:schemeClr val="bg1"/>
          </a:solidFill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D0316B28-CF23-4CE1-B987-435E67E78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025" y="465138"/>
              <a:ext cx="541338" cy="268288"/>
            </a:xfrm>
            <a:custGeom>
              <a:avLst/>
              <a:gdLst>
                <a:gd name="T0" fmla="*/ 183 w 192"/>
                <a:gd name="T1" fmla="*/ 0 h 95"/>
                <a:gd name="T2" fmla="*/ 9 w 192"/>
                <a:gd name="T3" fmla="*/ 0 h 95"/>
                <a:gd name="T4" fmla="*/ 0 w 192"/>
                <a:gd name="T5" fmla="*/ 9 h 95"/>
                <a:gd name="T6" fmla="*/ 0 w 192"/>
                <a:gd name="T7" fmla="*/ 86 h 95"/>
                <a:gd name="T8" fmla="*/ 9 w 192"/>
                <a:gd name="T9" fmla="*/ 95 h 95"/>
                <a:gd name="T10" fmla="*/ 183 w 192"/>
                <a:gd name="T11" fmla="*/ 95 h 95"/>
                <a:gd name="T12" fmla="*/ 192 w 192"/>
                <a:gd name="T13" fmla="*/ 86 h 95"/>
                <a:gd name="T14" fmla="*/ 192 w 192"/>
                <a:gd name="T15" fmla="*/ 9 h 95"/>
                <a:gd name="T16" fmla="*/ 183 w 192"/>
                <a:gd name="T17" fmla="*/ 0 h 95"/>
                <a:gd name="T18" fmla="*/ 174 w 192"/>
                <a:gd name="T19" fmla="*/ 77 h 95"/>
                <a:gd name="T20" fmla="*/ 18 w 192"/>
                <a:gd name="T21" fmla="*/ 77 h 95"/>
                <a:gd name="T22" fmla="*/ 18 w 192"/>
                <a:gd name="T23" fmla="*/ 18 h 95"/>
                <a:gd name="T24" fmla="*/ 174 w 192"/>
                <a:gd name="T25" fmla="*/ 18 h 95"/>
                <a:gd name="T26" fmla="*/ 174 w 192"/>
                <a:gd name="T27" fmla="*/ 77 h 95"/>
                <a:gd name="T28" fmla="*/ 174 w 192"/>
                <a:gd name="T29" fmla="*/ 7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2" h="95">
                  <a:moveTo>
                    <a:pt x="18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9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1"/>
                    <a:pt x="4" y="95"/>
                    <a:pt x="9" y="95"/>
                  </a:cubicBezTo>
                  <a:cubicBezTo>
                    <a:pt x="183" y="95"/>
                    <a:pt x="183" y="95"/>
                    <a:pt x="183" y="95"/>
                  </a:cubicBezTo>
                  <a:cubicBezTo>
                    <a:pt x="188" y="95"/>
                    <a:pt x="192" y="91"/>
                    <a:pt x="192" y="86"/>
                  </a:cubicBezTo>
                  <a:cubicBezTo>
                    <a:pt x="192" y="9"/>
                    <a:pt x="192" y="9"/>
                    <a:pt x="192" y="9"/>
                  </a:cubicBezTo>
                  <a:cubicBezTo>
                    <a:pt x="192" y="3"/>
                    <a:pt x="188" y="0"/>
                    <a:pt x="183" y="0"/>
                  </a:cubicBezTo>
                  <a:close/>
                  <a:moveTo>
                    <a:pt x="174" y="77"/>
                  </a:moveTo>
                  <a:cubicBezTo>
                    <a:pt x="18" y="77"/>
                    <a:pt x="18" y="77"/>
                    <a:pt x="18" y="7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74" y="77"/>
                    <a:pt x="174" y="77"/>
                    <a:pt x="174" y="77"/>
                  </a:cubicBezTo>
                  <a:cubicBezTo>
                    <a:pt x="174" y="77"/>
                    <a:pt x="174" y="77"/>
                    <a:pt x="174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6">
              <a:extLst>
                <a:ext uri="{FF2B5EF4-FFF2-40B4-BE49-F238E27FC236}">
                  <a16:creationId xmlns:a16="http://schemas.microsoft.com/office/drawing/2014/main" id="{C145949B-A0F3-4562-9ED8-A96141059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75" y="3175"/>
              <a:ext cx="1200150" cy="1192213"/>
            </a:xfrm>
            <a:custGeom>
              <a:avLst/>
              <a:gdLst>
                <a:gd name="T0" fmla="*/ 426 w 426"/>
                <a:gd name="T1" fmla="*/ 172 h 423"/>
                <a:gd name="T2" fmla="*/ 365 w 426"/>
                <a:gd name="T3" fmla="*/ 163 h 423"/>
                <a:gd name="T4" fmla="*/ 417 w 426"/>
                <a:gd name="T5" fmla="*/ 102 h 423"/>
                <a:gd name="T6" fmla="*/ 417 w 426"/>
                <a:gd name="T7" fmla="*/ 84 h 423"/>
                <a:gd name="T8" fmla="*/ 365 w 426"/>
                <a:gd name="T9" fmla="*/ 68 h 423"/>
                <a:gd name="T10" fmla="*/ 339 w 426"/>
                <a:gd name="T11" fmla="*/ 59 h 423"/>
                <a:gd name="T12" fmla="*/ 330 w 426"/>
                <a:gd name="T13" fmla="*/ 0 h 423"/>
                <a:gd name="T14" fmla="*/ 321 w 426"/>
                <a:gd name="T15" fmla="*/ 59 h 423"/>
                <a:gd name="T16" fmla="*/ 260 w 426"/>
                <a:gd name="T17" fmla="*/ 9 h 423"/>
                <a:gd name="T18" fmla="*/ 242 w 426"/>
                <a:gd name="T19" fmla="*/ 9 h 423"/>
                <a:gd name="T20" fmla="*/ 182 w 426"/>
                <a:gd name="T21" fmla="*/ 59 h 423"/>
                <a:gd name="T22" fmla="*/ 173 w 426"/>
                <a:gd name="T23" fmla="*/ 0 h 423"/>
                <a:gd name="T24" fmla="*/ 164 w 426"/>
                <a:gd name="T25" fmla="*/ 59 h 423"/>
                <a:gd name="T26" fmla="*/ 103 w 426"/>
                <a:gd name="T27" fmla="*/ 9 h 423"/>
                <a:gd name="T28" fmla="*/ 85 w 426"/>
                <a:gd name="T29" fmla="*/ 9 h 423"/>
                <a:gd name="T30" fmla="*/ 70 w 426"/>
                <a:gd name="T31" fmla="*/ 59 h 423"/>
                <a:gd name="T32" fmla="*/ 61 w 426"/>
                <a:gd name="T33" fmla="*/ 84 h 423"/>
                <a:gd name="T34" fmla="*/ 0 w 426"/>
                <a:gd name="T35" fmla="*/ 93 h 423"/>
                <a:gd name="T36" fmla="*/ 61 w 426"/>
                <a:gd name="T37" fmla="*/ 102 h 423"/>
                <a:gd name="T38" fmla="*/ 9 w 426"/>
                <a:gd name="T39" fmla="*/ 163 h 423"/>
                <a:gd name="T40" fmla="*/ 9 w 426"/>
                <a:gd name="T41" fmla="*/ 181 h 423"/>
                <a:gd name="T42" fmla="*/ 61 w 426"/>
                <a:gd name="T43" fmla="*/ 242 h 423"/>
                <a:gd name="T44" fmla="*/ 0 w 426"/>
                <a:gd name="T45" fmla="*/ 251 h 423"/>
                <a:gd name="T46" fmla="*/ 61 w 426"/>
                <a:gd name="T47" fmla="*/ 260 h 423"/>
                <a:gd name="T48" fmla="*/ 9 w 426"/>
                <a:gd name="T49" fmla="*/ 321 h 423"/>
                <a:gd name="T50" fmla="*/ 9 w 426"/>
                <a:gd name="T51" fmla="*/ 339 h 423"/>
                <a:gd name="T52" fmla="*/ 61 w 426"/>
                <a:gd name="T53" fmla="*/ 355 h 423"/>
                <a:gd name="T54" fmla="*/ 85 w 426"/>
                <a:gd name="T55" fmla="*/ 364 h 423"/>
                <a:gd name="T56" fmla="*/ 94 w 426"/>
                <a:gd name="T57" fmla="*/ 423 h 423"/>
                <a:gd name="T58" fmla="*/ 103 w 426"/>
                <a:gd name="T59" fmla="*/ 364 h 423"/>
                <a:gd name="T60" fmla="*/ 164 w 426"/>
                <a:gd name="T61" fmla="*/ 414 h 423"/>
                <a:gd name="T62" fmla="*/ 182 w 426"/>
                <a:gd name="T63" fmla="*/ 414 h 423"/>
                <a:gd name="T64" fmla="*/ 242 w 426"/>
                <a:gd name="T65" fmla="*/ 364 h 423"/>
                <a:gd name="T66" fmla="*/ 251 w 426"/>
                <a:gd name="T67" fmla="*/ 423 h 423"/>
                <a:gd name="T68" fmla="*/ 260 w 426"/>
                <a:gd name="T69" fmla="*/ 364 h 423"/>
                <a:gd name="T70" fmla="*/ 321 w 426"/>
                <a:gd name="T71" fmla="*/ 414 h 423"/>
                <a:gd name="T72" fmla="*/ 339 w 426"/>
                <a:gd name="T73" fmla="*/ 414 h 423"/>
                <a:gd name="T74" fmla="*/ 356 w 426"/>
                <a:gd name="T75" fmla="*/ 364 h 423"/>
                <a:gd name="T76" fmla="*/ 365 w 426"/>
                <a:gd name="T77" fmla="*/ 339 h 423"/>
                <a:gd name="T78" fmla="*/ 426 w 426"/>
                <a:gd name="T79" fmla="*/ 330 h 423"/>
                <a:gd name="T80" fmla="*/ 365 w 426"/>
                <a:gd name="T81" fmla="*/ 321 h 423"/>
                <a:gd name="T82" fmla="*/ 417 w 426"/>
                <a:gd name="T83" fmla="*/ 260 h 423"/>
                <a:gd name="T84" fmla="*/ 417 w 426"/>
                <a:gd name="T85" fmla="*/ 242 h 423"/>
                <a:gd name="T86" fmla="*/ 365 w 426"/>
                <a:gd name="T87" fmla="*/ 181 h 423"/>
                <a:gd name="T88" fmla="*/ 417 w 426"/>
                <a:gd name="T89" fmla="*/ 181 h 423"/>
                <a:gd name="T90" fmla="*/ 79 w 426"/>
                <a:gd name="T91" fmla="*/ 346 h 423"/>
                <a:gd name="T92" fmla="*/ 348 w 426"/>
                <a:gd name="T93" fmla="*/ 77 h 423"/>
                <a:gd name="T94" fmla="*/ 348 w 426"/>
                <a:gd name="T95" fmla="*/ 34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6" h="423">
                  <a:moveTo>
                    <a:pt x="417" y="181"/>
                  </a:moveTo>
                  <a:cubicBezTo>
                    <a:pt x="422" y="181"/>
                    <a:pt x="426" y="177"/>
                    <a:pt x="426" y="172"/>
                  </a:cubicBezTo>
                  <a:cubicBezTo>
                    <a:pt x="426" y="167"/>
                    <a:pt x="422" y="163"/>
                    <a:pt x="417" y="163"/>
                  </a:cubicBezTo>
                  <a:cubicBezTo>
                    <a:pt x="365" y="163"/>
                    <a:pt x="365" y="163"/>
                    <a:pt x="365" y="163"/>
                  </a:cubicBezTo>
                  <a:cubicBezTo>
                    <a:pt x="365" y="102"/>
                    <a:pt x="365" y="102"/>
                    <a:pt x="365" y="102"/>
                  </a:cubicBezTo>
                  <a:cubicBezTo>
                    <a:pt x="417" y="102"/>
                    <a:pt x="417" y="102"/>
                    <a:pt x="417" y="102"/>
                  </a:cubicBezTo>
                  <a:cubicBezTo>
                    <a:pt x="422" y="102"/>
                    <a:pt x="426" y="98"/>
                    <a:pt x="426" y="93"/>
                  </a:cubicBezTo>
                  <a:cubicBezTo>
                    <a:pt x="426" y="88"/>
                    <a:pt x="422" y="84"/>
                    <a:pt x="417" y="84"/>
                  </a:cubicBezTo>
                  <a:cubicBezTo>
                    <a:pt x="365" y="84"/>
                    <a:pt x="365" y="84"/>
                    <a:pt x="365" y="84"/>
                  </a:cubicBezTo>
                  <a:cubicBezTo>
                    <a:pt x="365" y="68"/>
                    <a:pt x="365" y="68"/>
                    <a:pt x="365" y="68"/>
                  </a:cubicBezTo>
                  <a:cubicBezTo>
                    <a:pt x="365" y="63"/>
                    <a:pt x="361" y="59"/>
                    <a:pt x="356" y="59"/>
                  </a:cubicBezTo>
                  <a:cubicBezTo>
                    <a:pt x="339" y="59"/>
                    <a:pt x="339" y="59"/>
                    <a:pt x="339" y="59"/>
                  </a:cubicBezTo>
                  <a:cubicBezTo>
                    <a:pt x="339" y="9"/>
                    <a:pt x="339" y="9"/>
                    <a:pt x="339" y="9"/>
                  </a:cubicBezTo>
                  <a:cubicBezTo>
                    <a:pt x="339" y="3"/>
                    <a:pt x="335" y="0"/>
                    <a:pt x="330" y="0"/>
                  </a:cubicBezTo>
                  <a:cubicBezTo>
                    <a:pt x="325" y="0"/>
                    <a:pt x="321" y="3"/>
                    <a:pt x="321" y="9"/>
                  </a:cubicBezTo>
                  <a:cubicBezTo>
                    <a:pt x="321" y="59"/>
                    <a:pt x="321" y="59"/>
                    <a:pt x="321" y="59"/>
                  </a:cubicBezTo>
                  <a:cubicBezTo>
                    <a:pt x="260" y="59"/>
                    <a:pt x="260" y="59"/>
                    <a:pt x="260" y="59"/>
                  </a:cubicBezTo>
                  <a:cubicBezTo>
                    <a:pt x="260" y="9"/>
                    <a:pt x="260" y="9"/>
                    <a:pt x="260" y="9"/>
                  </a:cubicBezTo>
                  <a:cubicBezTo>
                    <a:pt x="260" y="3"/>
                    <a:pt x="257" y="0"/>
                    <a:pt x="251" y="0"/>
                  </a:cubicBezTo>
                  <a:cubicBezTo>
                    <a:pt x="247" y="0"/>
                    <a:pt x="242" y="3"/>
                    <a:pt x="242" y="9"/>
                  </a:cubicBezTo>
                  <a:cubicBezTo>
                    <a:pt x="242" y="59"/>
                    <a:pt x="242" y="59"/>
                    <a:pt x="242" y="59"/>
                  </a:cubicBezTo>
                  <a:cubicBezTo>
                    <a:pt x="182" y="59"/>
                    <a:pt x="182" y="59"/>
                    <a:pt x="182" y="59"/>
                  </a:cubicBezTo>
                  <a:cubicBezTo>
                    <a:pt x="182" y="9"/>
                    <a:pt x="182" y="9"/>
                    <a:pt x="182" y="9"/>
                  </a:cubicBezTo>
                  <a:cubicBezTo>
                    <a:pt x="182" y="3"/>
                    <a:pt x="178" y="0"/>
                    <a:pt x="173" y="0"/>
                  </a:cubicBezTo>
                  <a:cubicBezTo>
                    <a:pt x="168" y="0"/>
                    <a:pt x="164" y="3"/>
                    <a:pt x="164" y="9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3" y="3"/>
                    <a:pt x="99" y="0"/>
                    <a:pt x="94" y="0"/>
                  </a:cubicBezTo>
                  <a:cubicBezTo>
                    <a:pt x="89" y="0"/>
                    <a:pt x="85" y="3"/>
                    <a:pt x="85" y="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5" y="59"/>
                    <a:pt x="61" y="63"/>
                    <a:pt x="61" y="68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98"/>
                    <a:pt x="4" y="102"/>
                    <a:pt x="9" y="102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1" y="163"/>
                    <a:pt x="61" y="163"/>
                    <a:pt x="61" y="163"/>
                  </a:cubicBezTo>
                  <a:cubicBezTo>
                    <a:pt x="9" y="163"/>
                    <a:pt x="9" y="163"/>
                    <a:pt x="9" y="163"/>
                  </a:cubicBezTo>
                  <a:cubicBezTo>
                    <a:pt x="4" y="163"/>
                    <a:pt x="0" y="167"/>
                    <a:pt x="0" y="172"/>
                  </a:cubicBezTo>
                  <a:cubicBezTo>
                    <a:pt x="0" y="177"/>
                    <a:pt x="4" y="181"/>
                    <a:pt x="9" y="181"/>
                  </a:cubicBezTo>
                  <a:cubicBezTo>
                    <a:pt x="61" y="181"/>
                    <a:pt x="61" y="181"/>
                    <a:pt x="61" y="181"/>
                  </a:cubicBezTo>
                  <a:cubicBezTo>
                    <a:pt x="61" y="242"/>
                    <a:pt x="61" y="242"/>
                    <a:pt x="61" y="242"/>
                  </a:cubicBezTo>
                  <a:cubicBezTo>
                    <a:pt x="9" y="242"/>
                    <a:pt x="9" y="242"/>
                    <a:pt x="9" y="242"/>
                  </a:cubicBezTo>
                  <a:cubicBezTo>
                    <a:pt x="4" y="242"/>
                    <a:pt x="0" y="246"/>
                    <a:pt x="0" y="251"/>
                  </a:cubicBezTo>
                  <a:cubicBezTo>
                    <a:pt x="0" y="256"/>
                    <a:pt x="4" y="260"/>
                    <a:pt x="9" y="260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61" y="321"/>
                    <a:pt x="61" y="321"/>
                    <a:pt x="61" y="321"/>
                  </a:cubicBezTo>
                  <a:cubicBezTo>
                    <a:pt x="9" y="321"/>
                    <a:pt x="9" y="321"/>
                    <a:pt x="9" y="321"/>
                  </a:cubicBezTo>
                  <a:cubicBezTo>
                    <a:pt x="4" y="321"/>
                    <a:pt x="0" y="325"/>
                    <a:pt x="0" y="330"/>
                  </a:cubicBezTo>
                  <a:cubicBezTo>
                    <a:pt x="0" y="335"/>
                    <a:pt x="4" y="339"/>
                    <a:pt x="9" y="339"/>
                  </a:cubicBezTo>
                  <a:cubicBezTo>
                    <a:pt x="61" y="339"/>
                    <a:pt x="61" y="339"/>
                    <a:pt x="61" y="339"/>
                  </a:cubicBezTo>
                  <a:cubicBezTo>
                    <a:pt x="61" y="355"/>
                    <a:pt x="61" y="355"/>
                    <a:pt x="61" y="355"/>
                  </a:cubicBezTo>
                  <a:cubicBezTo>
                    <a:pt x="61" y="359"/>
                    <a:pt x="65" y="364"/>
                    <a:pt x="70" y="364"/>
                  </a:cubicBezTo>
                  <a:cubicBezTo>
                    <a:pt x="85" y="364"/>
                    <a:pt x="85" y="364"/>
                    <a:pt x="85" y="364"/>
                  </a:cubicBezTo>
                  <a:cubicBezTo>
                    <a:pt x="85" y="414"/>
                    <a:pt x="85" y="414"/>
                    <a:pt x="85" y="414"/>
                  </a:cubicBezTo>
                  <a:cubicBezTo>
                    <a:pt x="85" y="420"/>
                    <a:pt x="89" y="423"/>
                    <a:pt x="94" y="423"/>
                  </a:cubicBezTo>
                  <a:cubicBezTo>
                    <a:pt x="99" y="423"/>
                    <a:pt x="103" y="420"/>
                    <a:pt x="103" y="414"/>
                  </a:cubicBezTo>
                  <a:cubicBezTo>
                    <a:pt x="103" y="364"/>
                    <a:pt x="103" y="364"/>
                    <a:pt x="103" y="364"/>
                  </a:cubicBezTo>
                  <a:cubicBezTo>
                    <a:pt x="164" y="364"/>
                    <a:pt x="164" y="364"/>
                    <a:pt x="164" y="364"/>
                  </a:cubicBezTo>
                  <a:cubicBezTo>
                    <a:pt x="164" y="414"/>
                    <a:pt x="164" y="414"/>
                    <a:pt x="164" y="414"/>
                  </a:cubicBezTo>
                  <a:cubicBezTo>
                    <a:pt x="164" y="420"/>
                    <a:pt x="168" y="423"/>
                    <a:pt x="173" y="423"/>
                  </a:cubicBezTo>
                  <a:cubicBezTo>
                    <a:pt x="178" y="423"/>
                    <a:pt x="182" y="420"/>
                    <a:pt x="182" y="414"/>
                  </a:cubicBezTo>
                  <a:cubicBezTo>
                    <a:pt x="182" y="364"/>
                    <a:pt x="182" y="364"/>
                    <a:pt x="182" y="364"/>
                  </a:cubicBezTo>
                  <a:cubicBezTo>
                    <a:pt x="242" y="364"/>
                    <a:pt x="242" y="364"/>
                    <a:pt x="242" y="364"/>
                  </a:cubicBezTo>
                  <a:cubicBezTo>
                    <a:pt x="242" y="414"/>
                    <a:pt x="242" y="414"/>
                    <a:pt x="242" y="414"/>
                  </a:cubicBezTo>
                  <a:cubicBezTo>
                    <a:pt x="242" y="420"/>
                    <a:pt x="247" y="423"/>
                    <a:pt x="251" y="423"/>
                  </a:cubicBezTo>
                  <a:cubicBezTo>
                    <a:pt x="257" y="423"/>
                    <a:pt x="260" y="420"/>
                    <a:pt x="260" y="414"/>
                  </a:cubicBezTo>
                  <a:cubicBezTo>
                    <a:pt x="260" y="364"/>
                    <a:pt x="260" y="364"/>
                    <a:pt x="260" y="364"/>
                  </a:cubicBezTo>
                  <a:cubicBezTo>
                    <a:pt x="321" y="364"/>
                    <a:pt x="321" y="364"/>
                    <a:pt x="321" y="364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21" y="420"/>
                    <a:pt x="325" y="423"/>
                    <a:pt x="330" y="423"/>
                  </a:cubicBezTo>
                  <a:cubicBezTo>
                    <a:pt x="335" y="423"/>
                    <a:pt x="339" y="420"/>
                    <a:pt x="339" y="414"/>
                  </a:cubicBezTo>
                  <a:cubicBezTo>
                    <a:pt x="339" y="364"/>
                    <a:pt x="339" y="364"/>
                    <a:pt x="339" y="364"/>
                  </a:cubicBezTo>
                  <a:cubicBezTo>
                    <a:pt x="356" y="364"/>
                    <a:pt x="356" y="364"/>
                    <a:pt x="356" y="364"/>
                  </a:cubicBezTo>
                  <a:cubicBezTo>
                    <a:pt x="361" y="364"/>
                    <a:pt x="365" y="359"/>
                    <a:pt x="365" y="355"/>
                  </a:cubicBezTo>
                  <a:cubicBezTo>
                    <a:pt x="365" y="339"/>
                    <a:pt x="365" y="339"/>
                    <a:pt x="365" y="339"/>
                  </a:cubicBezTo>
                  <a:cubicBezTo>
                    <a:pt x="417" y="339"/>
                    <a:pt x="417" y="339"/>
                    <a:pt x="417" y="339"/>
                  </a:cubicBezTo>
                  <a:cubicBezTo>
                    <a:pt x="422" y="339"/>
                    <a:pt x="426" y="335"/>
                    <a:pt x="426" y="330"/>
                  </a:cubicBezTo>
                  <a:cubicBezTo>
                    <a:pt x="426" y="325"/>
                    <a:pt x="422" y="321"/>
                    <a:pt x="417" y="321"/>
                  </a:cubicBezTo>
                  <a:cubicBezTo>
                    <a:pt x="365" y="321"/>
                    <a:pt x="365" y="321"/>
                    <a:pt x="365" y="321"/>
                  </a:cubicBezTo>
                  <a:cubicBezTo>
                    <a:pt x="365" y="260"/>
                    <a:pt x="365" y="260"/>
                    <a:pt x="365" y="260"/>
                  </a:cubicBezTo>
                  <a:cubicBezTo>
                    <a:pt x="417" y="260"/>
                    <a:pt x="417" y="260"/>
                    <a:pt x="417" y="260"/>
                  </a:cubicBezTo>
                  <a:cubicBezTo>
                    <a:pt x="422" y="260"/>
                    <a:pt x="426" y="256"/>
                    <a:pt x="426" y="251"/>
                  </a:cubicBezTo>
                  <a:cubicBezTo>
                    <a:pt x="426" y="246"/>
                    <a:pt x="422" y="242"/>
                    <a:pt x="417" y="242"/>
                  </a:cubicBezTo>
                  <a:cubicBezTo>
                    <a:pt x="365" y="242"/>
                    <a:pt x="365" y="242"/>
                    <a:pt x="365" y="242"/>
                  </a:cubicBezTo>
                  <a:cubicBezTo>
                    <a:pt x="365" y="181"/>
                    <a:pt x="365" y="181"/>
                    <a:pt x="365" y="181"/>
                  </a:cubicBezTo>
                  <a:cubicBezTo>
                    <a:pt x="417" y="181"/>
                    <a:pt x="417" y="181"/>
                    <a:pt x="417" y="181"/>
                  </a:cubicBezTo>
                  <a:cubicBezTo>
                    <a:pt x="417" y="181"/>
                    <a:pt x="417" y="181"/>
                    <a:pt x="417" y="181"/>
                  </a:cubicBezTo>
                  <a:close/>
                  <a:moveTo>
                    <a:pt x="348" y="346"/>
                  </a:moveTo>
                  <a:cubicBezTo>
                    <a:pt x="79" y="346"/>
                    <a:pt x="79" y="346"/>
                    <a:pt x="79" y="346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348" y="77"/>
                    <a:pt x="348" y="77"/>
                    <a:pt x="348" y="77"/>
                  </a:cubicBezTo>
                  <a:cubicBezTo>
                    <a:pt x="348" y="346"/>
                    <a:pt x="348" y="346"/>
                    <a:pt x="348" y="346"/>
                  </a:cubicBezTo>
                  <a:cubicBezTo>
                    <a:pt x="348" y="346"/>
                    <a:pt x="348" y="346"/>
                    <a:pt x="348" y="3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圖片 3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54615">
            <a:off x="207166" y="125761"/>
            <a:ext cx="541542" cy="406157"/>
          </a:xfrm>
          <a:prstGeom prst="rect">
            <a:avLst/>
          </a:prstGeom>
        </p:spPr>
      </p:pic>
      <p:sp>
        <p:nvSpPr>
          <p:cNvPr id="5" name="文字方塊 4"/>
          <p:cNvSpPr txBox="1"/>
          <p:nvPr userDrawn="1"/>
        </p:nvSpPr>
        <p:spPr>
          <a:xfrm>
            <a:off x="95564" y="4891823"/>
            <a:ext cx="14221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900" b="1" dirty="0" err="1">
                <a:solidFill>
                  <a:srgbClr val="034C60"/>
                </a:solidFill>
                <a:latin typeface="Helvetica-Bold" pitchFamily="34" charset="0"/>
                <a:ea typeface="+mn-ea"/>
              </a:rPr>
              <a:t>Wistron</a:t>
            </a:r>
            <a:r>
              <a:rPr lang="en-US" altLang="zh-TW" sz="900" b="1" dirty="0">
                <a:solidFill>
                  <a:srgbClr val="034C60"/>
                </a:solidFill>
                <a:latin typeface="Helvetica-Bold" pitchFamily="34" charset="0"/>
                <a:ea typeface="+mn-ea"/>
              </a:rPr>
              <a:t> Technologies </a:t>
            </a:r>
            <a:endParaRPr lang="zh-TW" altLang="en-US" sz="900" b="1" dirty="0">
              <a:solidFill>
                <a:srgbClr val="034C60"/>
              </a:solidFill>
            </a:endParaRPr>
          </a:p>
        </p:txBody>
      </p:sp>
      <p:pic>
        <p:nvPicPr>
          <p:cNvPr id="109" name="圖片 108"/>
          <p:cNvPicPr>
            <a:picLocks noChangeAspect="1"/>
          </p:cNvPicPr>
          <p:nvPr userDrawn="1"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59"/>
          <a:stretch/>
        </p:blipFill>
        <p:spPr>
          <a:xfrm>
            <a:off x="7607190" y="4728807"/>
            <a:ext cx="1307243" cy="402869"/>
          </a:xfrm>
          <a:prstGeom prst="rect">
            <a:avLst/>
          </a:prstGeom>
        </p:spPr>
      </p:pic>
      <p:sp>
        <p:nvSpPr>
          <p:cNvPr id="110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4419600" y="4928003"/>
            <a:ext cx="533400" cy="285750"/>
          </a:xfrm>
        </p:spPr>
        <p:txBody>
          <a:bodyPr/>
          <a:lstStyle>
            <a:lvl1pPr algn="ctr">
              <a:defRPr sz="75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933828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2250" b="1" baseline="0">
          <a:solidFill>
            <a:srgbClr val="619DA6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44018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</a:defRPr>
      </a:lvl2pPr>
      <a:lvl3pPr marL="342900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</a:defRPr>
      </a:lvl3pPr>
      <a:lvl4pPr marL="45948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</a:defRPr>
      </a:lvl4pPr>
      <a:lvl5pPr marL="562356" indent="-96012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133350"/>
            <a:ext cx="78486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dirty="0"/>
              <a:t>Click to edit Master title style 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200151"/>
            <a:ext cx="7848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/>
              <a:t>Click to edit Master text styles</a:t>
            </a:r>
          </a:p>
          <a:p>
            <a:pPr lvl="1"/>
            <a:r>
              <a:rPr lang="en-US" altLang="zh-TW" dirty="0"/>
              <a:t>Second level</a:t>
            </a:r>
          </a:p>
          <a:p>
            <a:pPr lvl="2"/>
            <a:r>
              <a:rPr lang="en-US" altLang="zh-TW" dirty="0"/>
              <a:t>Third level</a:t>
            </a:r>
          </a:p>
          <a:p>
            <a:pPr lvl="3"/>
            <a:r>
              <a:rPr lang="en-US" altLang="zh-TW" dirty="0"/>
              <a:t>Fourth level</a:t>
            </a:r>
          </a:p>
          <a:p>
            <a:pPr lvl="4"/>
            <a:r>
              <a:rPr lang="en-US" altLang="zh-TW" dirty="0"/>
              <a:t>Fifth level</a:t>
            </a:r>
          </a:p>
        </p:txBody>
      </p:sp>
      <p:sp>
        <p:nvSpPr>
          <p:cNvPr id="29717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3400" y="4857750"/>
            <a:ext cx="68580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kumimoji="1" sz="10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3AB1FE89-9AA8-4D5B-B63B-2A1E06624653}" type="slidenum">
              <a:rPr lang="en-US" altLang="zh-TW" smtClean="0"/>
              <a:pPr>
                <a:defRPr/>
              </a:pPr>
              <a:t>‹#›</a:t>
            </a:fld>
            <a:endParaRPr lang="en-US" altLang="zh-TW" dirty="0"/>
          </a:p>
        </p:txBody>
      </p:sp>
      <p:pic>
        <p:nvPicPr>
          <p:cNvPr id="7" name="圖片 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254615">
            <a:off x="207166" y="167681"/>
            <a:ext cx="541542" cy="541542"/>
          </a:xfrm>
          <a:prstGeom prst="rect">
            <a:avLst/>
          </a:prstGeom>
        </p:spPr>
      </p:pic>
      <p:sp>
        <p:nvSpPr>
          <p:cNvPr id="8" name="文字方塊 7"/>
          <p:cNvSpPr txBox="1"/>
          <p:nvPr userDrawn="1"/>
        </p:nvSpPr>
        <p:spPr>
          <a:xfrm>
            <a:off x="76200" y="4809351"/>
            <a:ext cx="1888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200" b="1" dirty="0" err="1">
                <a:solidFill>
                  <a:schemeClr val="accent5">
                    <a:lumMod val="25000"/>
                  </a:schemeClr>
                </a:solidFill>
                <a:latin typeface="Helvetica-Bold" pitchFamily="34" charset="0"/>
                <a:ea typeface="+mn-ea"/>
              </a:rPr>
              <a:t>Wistron</a:t>
            </a:r>
            <a:r>
              <a:rPr lang="en-US" altLang="zh-TW" sz="1200" b="1" dirty="0">
                <a:solidFill>
                  <a:schemeClr val="accent5">
                    <a:lumMod val="25000"/>
                  </a:schemeClr>
                </a:solidFill>
                <a:latin typeface="Helvetica-Bold" pitchFamily="34" charset="0"/>
                <a:ea typeface="+mn-ea"/>
              </a:rPr>
              <a:t> Technologies </a:t>
            </a:r>
            <a:endParaRPr lang="zh-TW" altLang="en-US" sz="1200" b="1" dirty="0">
              <a:solidFill>
                <a:schemeClr val="accent5">
                  <a:lumMod val="25000"/>
                </a:schemeClr>
              </a:solidFill>
            </a:endParaRPr>
          </a:p>
        </p:txBody>
      </p:sp>
      <p:pic>
        <p:nvPicPr>
          <p:cNvPr id="9" name="圖片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0557" y="4629150"/>
            <a:ext cx="1154843" cy="48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124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3000" b="1" baseline="0">
          <a:solidFill>
            <a:srgbClr val="333333"/>
          </a:solidFill>
          <a:latin typeface="+mj-lt"/>
          <a:ea typeface="微軟正黑體" panose="020B0604030504040204" pitchFamily="34" charset="-12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3200" b="1">
          <a:solidFill>
            <a:srgbClr val="333333"/>
          </a:solidFill>
          <a:latin typeface="Arial" charset="0"/>
          <a:ea typeface="新細明體" charset="-120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3200">
          <a:solidFill>
            <a:srgbClr val="333333"/>
          </a:solidFill>
          <a:latin typeface="Arial" charset="0"/>
          <a:ea typeface="新細明體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2600" baseline="0">
          <a:solidFill>
            <a:srgbClr val="4D4D4D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400" baseline="0">
          <a:solidFill>
            <a:srgbClr val="4D4D4D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 baseline="0">
          <a:solidFill>
            <a:srgbClr val="4D4D4D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1800" baseline="0">
          <a:solidFill>
            <a:srgbClr val="4D4D4D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1600" baseline="0">
          <a:solidFill>
            <a:srgbClr val="4D4D4D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rgbClr val="4D4D4D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18" Type="http://schemas.openxmlformats.org/officeDocument/2006/relationships/diagramLayout" Target="../diagrams/layout4.xml"/><Relationship Id="rId3" Type="http://schemas.openxmlformats.org/officeDocument/2006/relationships/diagramLayout" Target="../diagrams/layout1.xml"/><Relationship Id="rId21" Type="http://schemas.microsoft.com/office/2007/relationships/diagramDrawing" Target="../diagrams/drawing4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17" Type="http://schemas.openxmlformats.org/officeDocument/2006/relationships/diagramData" Target="../diagrams/data4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20" Type="http://schemas.openxmlformats.org/officeDocument/2006/relationships/diagramColors" Target="../diagrams/colors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19" Type="http://schemas.openxmlformats.org/officeDocument/2006/relationships/diagramQuickStyle" Target="../diagrams/quickStyle4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diagramLayout" Target="../diagrams/layout5.xml"/><Relationship Id="rId7" Type="http://schemas.openxmlformats.org/officeDocument/2006/relationships/image" Target="../media/image17.png"/><Relationship Id="rId12" Type="http://schemas.openxmlformats.org/officeDocument/2006/relationships/image" Target="../media/image21.sv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5.xml"/><Relationship Id="rId11" Type="http://schemas.openxmlformats.org/officeDocument/2006/relationships/image" Target="../media/image19.png"/><Relationship Id="rId5" Type="http://schemas.openxmlformats.org/officeDocument/2006/relationships/diagramColors" Target="../diagrams/colors5.xml"/><Relationship Id="rId10" Type="http://schemas.openxmlformats.org/officeDocument/2006/relationships/image" Target="../media/image19.svg"/><Relationship Id="rId4" Type="http://schemas.openxmlformats.org/officeDocument/2006/relationships/diagramQuickStyle" Target="../diagrams/quickStyle5.xml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C8AB57F-4F64-482A-AE8A-25024E18A3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819150"/>
            <a:ext cx="8518530" cy="1454244"/>
          </a:xfrm>
        </p:spPr>
        <p:txBody>
          <a:bodyPr/>
          <a:lstStyle/>
          <a:p>
            <a:r>
              <a:rPr lang="en-US" altLang="zh-TW" dirty="0"/>
              <a:t>Systems </a:t>
            </a:r>
            <a:r>
              <a:rPr lang="en-US" altLang="zh-TW" dirty="0" smtClean="0"/>
              <a:t>architecture</a:t>
            </a:r>
            <a:r>
              <a:rPr lang="zh-TW" altLang="en-US" dirty="0" smtClean="0"/>
              <a:t> </a:t>
            </a:r>
            <a:r>
              <a:rPr lang="en-US" altLang="zh-TW" dirty="0" smtClean="0"/>
              <a:t>&amp;</a:t>
            </a:r>
            <a:r>
              <a:rPr lang="zh-TW" altLang="en-US" dirty="0" smtClean="0"/>
              <a:t> </a:t>
            </a:r>
            <a:r>
              <a:rPr lang="en-US" altLang="zh-TW" smtClean="0"/>
              <a:t/>
            </a:r>
            <a:br>
              <a:rPr lang="en-US" altLang="zh-TW" smtClean="0"/>
            </a:br>
            <a:r>
              <a:rPr lang="en-US" altLang="zh-TW" smtClean="0"/>
              <a:t>Benefit </a:t>
            </a:r>
            <a:r>
              <a:rPr lang="en-US" altLang="zh-TW" dirty="0" smtClean="0"/>
              <a:t>assessment </a:t>
            </a:r>
            <a:br>
              <a:rPr lang="en-US" altLang="zh-TW" dirty="0" smtClean="0"/>
            </a:br>
            <a:r>
              <a:rPr lang="en-US" altLang="zh-TW" dirty="0" smtClean="0"/>
              <a:t>of new requirement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7AFE977-3351-4554-971C-EAE56F7AE8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0" y="2647950"/>
            <a:ext cx="7848600" cy="553998"/>
          </a:xfrm>
        </p:spPr>
        <p:txBody>
          <a:bodyPr/>
          <a:lstStyle/>
          <a:p>
            <a:r>
              <a:rPr lang="en-US" sz="180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Business group:</a:t>
            </a:r>
            <a:r>
              <a:rPr lang="en-US" altLang="zh-TW" sz="1800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 Business </a:t>
            </a:r>
            <a:r>
              <a:rPr lang="en-US" altLang="zh-TW" sz="180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group name</a:t>
            </a:r>
            <a:endParaRPr lang="en-US" sz="180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  <a:p>
            <a:r>
              <a:rPr lang="en-US" sz="1800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Project name: </a:t>
            </a:r>
            <a:r>
              <a:rPr lang="en-US" sz="1800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New requirement name</a:t>
            </a:r>
            <a:endParaRPr lang="en-US" sz="1800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EE3CA6-7617-4EC7-88CC-0BC48FD14FB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4908550"/>
            <a:ext cx="533400" cy="285750"/>
          </a:xfrm>
        </p:spPr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1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42280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圖片 35"/>
          <p:cNvPicPr>
            <a:picLocks noChangeAspect="1"/>
          </p:cNvPicPr>
          <p:nvPr/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087415" y="3309685"/>
            <a:ext cx="2599385" cy="1259593"/>
          </a:xfrm>
          <a:prstGeom prst="rect">
            <a:avLst/>
          </a:prstGeom>
        </p:spPr>
      </p:pic>
      <p:pic>
        <p:nvPicPr>
          <p:cNvPr id="7" name="圖片 6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5133" y="3345725"/>
            <a:ext cx="1924921" cy="1259593"/>
          </a:xfrm>
          <a:prstGeom prst="rect">
            <a:avLst/>
          </a:prstGeom>
        </p:spPr>
      </p:pic>
      <p:pic>
        <p:nvPicPr>
          <p:cNvPr id="6" name="圖片 5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111" y="3358680"/>
            <a:ext cx="2547938" cy="1234663"/>
          </a:xfrm>
          <a:prstGeom prst="rect">
            <a:avLst/>
          </a:prstGeom>
        </p:spPr>
      </p:pic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200" y="209550"/>
            <a:ext cx="7924800" cy="553998"/>
          </a:xfrm>
        </p:spPr>
        <p:txBody>
          <a:bodyPr/>
          <a:lstStyle/>
          <a:p>
            <a:r>
              <a:rPr lang="en-US" altLang="zh-TW" dirty="0"/>
              <a:t>Base brief: Projects material management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2</a:t>
            </a:fld>
            <a:endParaRPr lang="en-US" altLang="zh-TW" dirty="0"/>
          </a:p>
        </p:txBody>
      </p:sp>
      <p:sp>
        <p:nvSpPr>
          <p:cNvPr id="4" name="文字方塊 3"/>
          <p:cNvSpPr txBox="1"/>
          <p:nvPr/>
        </p:nvSpPr>
        <p:spPr>
          <a:xfrm>
            <a:off x="304800" y="817961"/>
            <a:ext cx="84582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TW" sz="1200" dirty="0">
                <a:solidFill>
                  <a:srgbClr val="0070C0"/>
                </a:solidFill>
              </a:rPr>
              <a:t>Current status:</a:t>
            </a:r>
          </a:p>
          <a:p>
            <a:pPr marL="468000" lvl="1" indent="-228600">
              <a:buFont typeface="+mj-lt"/>
              <a:buAutoNum type="alphaUcPeriod"/>
              <a:defRPr/>
            </a:pPr>
            <a:r>
              <a:rPr lang="en-US" altLang="zh-TW" sz="1200" dirty="0"/>
              <a:t>PDL items for each project around 500, materials re-use(leverage) </a:t>
            </a:r>
            <a:r>
              <a:rPr lang="en-US" altLang="zh-TW" sz="1200" dirty="0" smtClean="0"/>
              <a:t>xx rate %(~</a:t>
            </a:r>
            <a:r>
              <a:rPr lang="en-US" altLang="zh-TW" sz="1200" dirty="0" smtClean="0">
                <a:solidFill>
                  <a:srgbClr val="0000FF"/>
                </a:solidFill>
              </a:rPr>
              <a:t> xx items</a:t>
            </a:r>
            <a:r>
              <a:rPr lang="en-US" altLang="zh-TW" sz="1200" dirty="0"/>
              <a:t>) in 15G</a:t>
            </a:r>
          </a:p>
          <a:p>
            <a:pPr marL="468000" lvl="1" indent="-228600">
              <a:buFont typeface="+mj-lt"/>
              <a:buAutoNum type="alphaUcPeriod"/>
              <a:defRPr/>
            </a:pPr>
            <a:r>
              <a:rPr lang="en-US" altLang="zh-TW" sz="1200" dirty="0" smtClean="0"/>
              <a:t>Each project took hours/week average during developing cycle in project</a:t>
            </a:r>
          </a:p>
          <a:p>
            <a:pPr marL="468000" lvl="1" indent="-228600">
              <a:buFont typeface="+mj-lt"/>
              <a:buAutoNum type="alphaUcPeriod"/>
              <a:defRPr/>
            </a:pPr>
            <a:r>
              <a:rPr lang="en-US" altLang="zh-TW" sz="1200" dirty="0" smtClean="0"/>
              <a:t>It caused </a:t>
            </a:r>
            <a:r>
              <a:rPr lang="en-US" altLang="zh-TW" sz="1200" dirty="0" smtClean="0">
                <a:solidFill>
                  <a:srgbClr val="0000FF"/>
                </a:solidFill>
              </a:rPr>
              <a:t>dedicate xx </a:t>
            </a:r>
            <a:r>
              <a:rPr lang="en-US" altLang="zh-TW" sz="1200" dirty="0" smtClean="0"/>
              <a:t>to collect, back and forth discussion with function team, come out waterfall which must be finished </a:t>
            </a:r>
            <a:r>
              <a:rPr lang="en-US" altLang="zh-TW" sz="1200" dirty="0" smtClean="0">
                <a:solidFill>
                  <a:srgbClr val="0000FF"/>
                </a:solidFill>
              </a:rPr>
              <a:t>within xx weeks </a:t>
            </a:r>
            <a:r>
              <a:rPr lang="en-US" altLang="zh-TW" sz="1200" dirty="0" smtClean="0"/>
              <a:t>for each phase. Heavy overtime on </a:t>
            </a:r>
            <a:r>
              <a:rPr lang="en-US" altLang="zh-TW" sz="1200" dirty="0" err="1" smtClean="0"/>
              <a:t>fn</a:t>
            </a:r>
            <a:r>
              <a:rPr lang="en-US" altLang="zh-TW" sz="1200" dirty="0" smtClean="0"/>
              <a:t> team during this period.</a:t>
            </a:r>
            <a:endParaRPr lang="en-US" altLang="zh-TW" sz="1200" dirty="0"/>
          </a:p>
          <a:p>
            <a:pPr marL="468000" lvl="1" indent="-228600">
              <a:buFont typeface="+mj-lt"/>
              <a:buAutoNum type="alphaUcPeriod" startAt="4"/>
              <a:defRPr/>
            </a:pPr>
            <a:r>
              <a:rPr lang="en-US" altLang="zh-TW" sz="1200" dirty="0" smtClean="0"/>
              <a:t>Estimate now will be </a:t>
            </a:r>
            <a:r>
              <a:rPr lang="en-US" altLang="zh-TW" sz="1200" dirty="0" err="1" smtClean="0">
                <a:solidFill>
                  <a:srgbClr val="0000FF"/>
                </a:solidFill>
              </a:rPr>
              <a:t>xxxx</a:t>
            </a:r>
            <a:r>
              <a:rPr lang="en-US" altLang="zh-TW" sz="1200" dirty="0" smtClean="0"/>
              <a:t> efforts compared with past.</a:t>
            </a:r>
            <a:endParaRPr lang="en-US" altLang="zh-TW" sz="1200" dirty="0">
              <a:solidFill>
                <a:srgbClr val="0070C0"/>
              </a:solidFill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lang="en-US" altLang="zh-TW" sz="1200" dirty="0">
                <a:solidFill>
                  <a:srgbClr val="0070C0"/>
                </a:solidFill>
              </a:rPr>
              <a:t>Target:</a:t>
            </a:r>
          </a:p>
          <a:p>
            <a:pPr marL="468000" lvl="1" indent="-228600">
              <a:buFont typeface="+mj-lt"/>
              <a:buAutoNum type="alphaUcPeriod"/>
              <a:defRPr/>
            </a:pPr>
            <a:r>
              <a:rPr lang="en-US" altLang="zh-TW" sz="1200" i="1" dirty="0"/>
              <a:t>Kickoff by </a:t>
            </a:r>
            <a:r>
              <a:rPr lang="en-US" altLang="zh-TW" sz="1200" i="1" dirty="0" smtClean="0"/>
              <a:t>Jan 1</a:t>
            </a:r>
            <a:r>
              <a:rPr lang="en-US" altLang="zh-TW" sz="1200" i="1" baseline="30000" dirty="0" smtClean="0"/>
              <a:t>th</a:t>
            </a:r>
            <a:r>
              <a:rPr lang="en-US" altLang="zh-TW" sz="1200" i="1" dirty="0" smtClean="0"/>
              <a:t> </a:t>
            </a:r>
            <a:r>
              <a:rPr lang="en-US" altLang="zh-TW" sz="1200" i="1" dirty="0"/>
              <a:t>2020</a:t>
            </a:r>
          </a:p>
          <a:p>
            <a:pPr marL="468000" lvl="1" indent="-228600">
              <a:buFont typeface="+mj-lt"/>
              <a:buAutoNum type="alphaUcPeriod"/>
              <a:defRPr/>
            </a:pPr>
            <a:r>
              <a:rPr lang="en-US" altLang="zh-TW" sz="1200" i="1" dirty="0"/>
              <a:t>Effective by Jan. 2021 </a:t>
            </a:r>
            <a:endParaRPr lang="en-US" altLang="zh-TW" sz="1200" i="1" dirty="0" smtClean="0"/>
          </a:p>
          <a:p>
            <a:pPr marL="468000" lvl="1" indent="-228600">
              <a:buFont typeface="+mj-lt"/>
              <a:buAutoNum type="alphaUcPeriod"/>
              <a:defRPr/>
            </a:pPr>
            <a:r>
              <a:rPr lang="en-US" altLang="zh-TW" sz="1200" i="1" dirty="0" smtClean="0"/>
              <a:t>Reduce xx</a:t>
            </a:r>
            <a:r>
              <a:rPr lang="en-US" altLang="zh-TW" sz="1200" i="1" dirty="0" smtClean="0">
                <a:solidFill>
                  <a:srgbClr val="0000FF"/>
                </a:solidFill>
              </a:rPr>
              <a:t>%</a:t>
            </a:r>
            <a:r>
              <a:rPr lang="en-US" altLang="zh-TW" sz="1200" i="1" dirty="0" smtClean="0"/>
              <a:t> </a:t>
            </a:r>
            <a:r>
              <a:rPr lang="en-US" altLang="zh-TW" sz="1200" i="1" dirty="0"/>
              <a:t>working hour by automation </a:t>
            </a:r>
            <a:endParaRPr kumimoji="1" lang="en-US" altLang="zh-TW" sz="12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219200" y="3837021"/>
            <a:ext cx="17812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/>
              <a:t>Past process diagram</a:t>
            </a:r>
            <a:endParaRPr lang="zh-TW" altLang="en-US" sz="1200" b="1" dirty="0"/>
          </a:p>
        </p:txBody>
      </p:sp>
      <p:sp>
        <p:nvSpPr>
          <p:cNvPr id="33" name="矩形 32"/>
          <p:cNvSpPr/>
          <p:nvPr/>
        </p:nvSpPr>
        <p:spPr>
          <a:xfrm>
            <a:off x="5042477" y="3830987"/>
            <a:ext cx="17828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200" b="1" dirty="0" smtClean="0"/>
              <a:t>Now process diagram</a:t>
            </a:r>
            <a:endParaRPr lang="zh-TW" altLang="en-US" sz="1200" b="1" dirty="0"/>
          </a:p>
        </p:txBody>
      </p:sp>
      <p:grpSp>
        <p:nvGrpSpPr>
          <p:cNvPr id="8" name="群組 7"/>
          <p:cNvGrpSpPr/>
          <p:nvPr/>
        </p:nvGrpSpPr>
        <p:grpSpPr>
          <a:xfrm>
            <a:off x="4044814" y="3799404"/>
            <a:ext cx="506207" cy="353213"/>
            <a:chOff x="4044814" y="3799404"/>
            <a:chExt cx="506207" cy="353213"/>
          </a:xfrm>
        </p:grpSpPr>
        <p:sp>
          <p:nvSpPr>
            <p:cNvPr id="38" name="向右箭號 37"/>
            <p:cNvSpPr/>
            <p:nvPr/>
          </p:nvSpPr>
          <p:spPr bwMode="auto">
            <a:xfrm>
              <a:off x="4199101" y="3799404"/>
              <a:ext cx="351920" cy="353213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tx1">
                <a:lumMod val="85000"/>
                <a:lumOff val="1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TW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sp>
          <p:nvSpPr>
            <p:cNvPr id="39" name="向右箭號 38"/>
            <p:cNvSpPr/>
            <p:nvPr/>
          </p:nvSpPr>
          <p:spPr bwMode="auto">
            <a:xfrm>
              <a:off x="4109042" y="3799404"/>
              <a:ext cx="351920" cy="353213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TW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sp>
          <p:nvSpPr>
            <p:cNvPr id="73" name="向右箭號 72"/>
            <p:cNvSpPr/>
            <p:nvPr/>
          </p:nvSpPr>
          <p:spPr bwMode="auto">
            <a:xfrm>
              <a:off x="4044814" y="3818454"/>
              <a:ext cx="307452" cy="308582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TW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7674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200" y="209550"/>
            <a:ext cx="7924800" cy="553998"/>
          </a:xfrm>
        </p:spPr>
        <p:txBody>
          <a:bodyPr/>
          <a:lstStyle/>
          <a:p>
            <a:r>
              <a:rPr lang="en-US" altLang="zh-TW" dirty="0"/>
              <a:t>Process Comparison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3</a:t>
            </a:fld>
            <a:endParaRPr lang="en-US" altLang="zh-TW" dirty="0"/>
          </a:p>
        </p:txBody>
      </p:sp>
      <p:graphicFrame>
        <p:nvGraphicFramePr>
          <p:cNvPr id="74" name="資料庫圖表 73">
            <a:extLst>
              <a:ext uri="{FF2B5EF4-FFF2-40B4-BE49-F238E27FC236}">
                <a16:creationId xmlns:a16="http://schemas.microsoft.com/office/drawing/2014/main" id="{1FD0F547-6F4A-415E-99FC-7AF5343CEF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8470886"/>
              </p:ext>
            </p:extLst>
          </p:nvPr>
        </p:nvGraphicFramePr>
        <p:xfrm>
          <a:off x="228600" y="1325090"/>
          <a:ext cx="8458200" cy="121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5" name="資料庫圖表 74">
            <a:extLst>
              <a:ext uri="{FF2B5EF4-FFF2-40B4-BE49-F238E27FC236}">
                <a16:creationId xmlns:a16="http://schemas.microsoft.com/office/drawing/2014/main" id="{A7E1CC21-6272-4CC5-9419-CCF03C8794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8232711"/>
              </p:ext>
            </p:extLst>
          </p:nvPr>
        </p:nvGraphicFramePr>
        <p:xfrm>
          <a:off x="268558" y="1401290"/>
          <a:ext cx="8418242" cy="209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76" name="資料庫圖表 75">
            <a:extLst>
              <a:ext uri="{FF2B5EF4-FFF2-40B4-BE49-F238E27FC236}">
                <a16:creationId xmlns:a16="http://schemas.microsoft.com/office/drawing/2014/main" id="{2452B075-B971-4084-AD9E-4D1A15BE2E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8147566"/>
              </p:ext>
            </p:extLst>
          </p:nvPr>
        </p:nvGraphicFramePr>
        <p:xfrm>
          <a:off x="271452" y="3385221"/>
          <a:ext cx="6846395" cy="1216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77" name="資料庫圖表 76">
            <a:extLst>
              <a:ext uri="{FF2B5EF4-FFF2-40B4-BE49-F238E27FC236}">
                <a16:creationId xmlns:a16="http://schemas.microsoft.com/office/drawing/2014/main" id="{7FAFBC58-34B2-4FE6-B389-574D92104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6411857"/>
              </p:ext>
            </p:extLst>
          </p:nvPr>
        </p:nvGraphicFramePr>
        <p:xfrm>
          <a:off x="301353" y="3491857"/>
          <a:ext cx="6770195" cy="1821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sp>
        <p:nvSpPr>
          <p:cNvPr id="78" name="文字方塊 77">
            <a:extLst>
              <a:ext uri="{FF2B5EF4-FFF2-40B4-BE49-F238E27FC236}">
                <a16:creationId xmlns:a16="http://schemas.microsoft.com/office/drawing/2014/main" id="{2194E393-A0D7-48F6-BF98-BF3490143BE0}"/>
              </a:ext>
            </a:extLst>
          </p:cNvPr>
          <p:cNvSpPr txBox="1"/>
          <p:nvPr/>
        </p:nvSpPr>
        <p:spPr>
          <a:xfrm>
            <a:off x="217990" y="1010887"/>
            <a:ext cx="18245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400" b="1" dirty="0"/>
              <a:t>As-Is (by manually)</a:t>
            </a:r>
            <a:endParaRPr lang="zh-TW" altLang="en-US" sz="1400" b="1" dirty="0"/>
          </a:p>
        </p:txBody>
      </p:sp>
      <p:sp>
        <p:nvSpPr>
          <p:cNvPr id="79" name="文字方塊 78">
            <a:extLst>
              <a:ext uri="{FF2B5EF4-FFF2-40B4-BE49-F238E27FC236}">
                <a16:creationId xmlns:a16="http://schemas.microsoft.com/office/drawing/2014/main" id="{99A2E7F6-EDB1-436D-A6DA-32D72EDDEFC2}"/>
              </a:ext>
            </a:extLst>
          </p:cNvPr>
          <p:cNvSpPr txBox="1"/>
          <p:nvPr/>
        </p:nvSpPr>
        <p:spPr>
          <a:xfrm>
            <a:off x="217990" y="3077444"/>
            <a:ext cx="20676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400" b="1" dirty="0"/>
              <a:t>To-Be (by automation)</a:t>
            </a:r>
            <a:endParaRPr lang="zh-TW" altLang="en-US" sz="1400" b="1" dirty="0"/>
          </a:p>
        </p:txBody>
      </p:sp>
      <p:sp>
        <p:nvSpPr>
          <p:cNvPr id="80" name="矩形: 圓角 14">
            <a:extLst>
              <a:ext uri="{FF2B5EF4-FFF2-40B4-BE49-F238E27FC236}">
                <a16:creationId xmlns:a16="http://schemas.microsoft.com/office/drawing/2014/main" id="{5CF3E843-8FA5-45C2-9FE6-317702E21647}"/>
              </a:ext>
            </a:extLst>
          </p:cNvPr>
          <p:cNvSpPr/>
          <p:nvPr/>
        </p:nvSpPr>
        <p:spPr bwMode="auto">
          <a:xfrm>
            <a:off x="2590800" y="1318664"/>
            <a:ext cx="4800600" cy="914399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1" name="矩形: 圓角 18">
            <a:extLst>
              <a:ext uri="{FF2B5EF4-FFF2-40B4-BE49-F238E27FC236}">
                <a16:creationId xmlns:a16="http://schemas.microsoft.com/office/drawing/2014/main" id="{AD780670-956E-48B0-A2E0-AAFD83CB5ED2}"/>
              </a:ext>
            </a:extLst>
          </p:cNvPr>
          <p:cNvSpPr/>
          <p:nvPr/>
        </p:nvSpPr>
        <p:spPr bwMode="auto">
          <a:xfrm>
            <a:off x="4191000" y="3449970"/>
            <a:ext cx="1447800" cy="914399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en-U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新細明體" charset="-120"/>
            </a:endParaRPr>
          </a:p>
        </p:txBody>
      </p:sp>
      <p:sp>
        <p:nvSpPr>
          <p:cNvPr id="82" name="文字方塊 81"/>
          <p:cNvSpPr txBox="1"/>
          <p:nvPr/>
        </p:nvSpPr>
        <p:spPr>
          <a:xfrm>
            <a:off x="3900381" y="2316904"/>
            <a:ext cx="17917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TW" sz="800" dirty="0"/>
              <a:t>Check </a:t>
            </a:r>
            <a:r>
              <a:rPr lang="en-US" altLang="zh-TW" sz="800" dirty="0" smtClean="0"/>
              <a:t>xxx</a:t>
            </a:r>
            <a:endParaRPr lang="en-US" altLang="zh-TW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TW" sz="800" dirty="0" smtClean="0"/>
              <a:t>Maintain xxx</a:t>
            </a:r>
            <a:endParaRPr lang="en-US" altLang="zh-TW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zh-TW" sz="800" dirty="0"/>
              <a:t>Compare </a:t>
            </a:r>
            <a:r>
              <a:rPr lang="en-US" altLang="zh-TW" sz="800" dirty="0" smtClean="0"/>
              <a:t>xxx</a:t>
            </a:r>
            <a:endParaRPr lang="en-US" altLang="zh-TW" sz="800" dirty="0"/>
          </a:p>
          <a:p>
            <a:endParaRPr lang="zh-TW" altLang="en-US" sz="800" dirty="0"/>
          </a:p>
        </p:txBody>
      </p:sp>
    </p:spTree>
    <p:extLst>
      <p:ext uri="{BB962C8B-B14F-4D97-AF65-F5344CB8AC3E}">
        <p14:creationId xmlns:p14="http://schemas.microsoft.com/office/powerpoint/2010/main" val="3124959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200" y="209550"/>
            <a:ext cx="7924800" cy="553998"/>
          </a:xfrm>
        </p:spPr>
        <p:txBody>
          <a:bodyPr/>
          <a:lstStyle/>
          <a:p>
            <a:r>
              <a:rPr lang="en-US" altLang="zh-TW" dirty="0"/>
              <a:t>System Blueprint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4</a:t>
            </a:fld>
            <a:endParaRPr lang="en-US" altLang="zh-TW" dirty="0"/>
          </a:p>
        </p:txBody>
      </p:sp>
      <p:graphicFrame>
        <p:nvGraphicFramePr>
          <p:cNvPr id="13" name="資料庫圖表 12">
            <a:extLst>
              <a:ext uri="{FF2B5EF4-FFF2-40B4-BE49-F238E27FC236}">
                <a16:creationId xmlns:a16="http://schemas.microsoft.com/office/drawing/2014/main" id="{B0CDD277-CA74-4BD7-9FF3-7C09107E69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843458"/>
              </p:ext>
            </p:extLst>
          </p:nvPr>
        </p:nvGraphicFramePr>
        <p:xfrm>
          <a:off x="173996" y="1052840"/>
          <a:ext cx="5434402" cy="3429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文字方塊 13">
            <a:extLst>
              <a:ext uri="{FF2B5EF4-FFF2-40B4-BE49-F238E27FC236}">
                <a16:creationId xmlns:a16="http://schemas.microsoft.com/office/drawing/2014/main" id="{49EB5E1D-BA8F-4950-98E3-3D57A724DB8C}"/>
              </a:ext>
            </a:extLst>
          </p:cNvPr>
          <p:cNvSpPr txBox="1"/>
          <p:nvPr/>
        </p:nvSpPr>
        <p:spPr>
          <a:xfrm>
            <a:off x="3811350" y="1864651"/>
            <a:ext cx="13837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600" b="1" dirty="0" err="1" smtClean="0"/>
              <a:t>OxO</a:t>
            </a:r>
            <a:r>
              <a:rPr lang="en-US" altLang="zh-TW" sz="1600" b="1" dirty="0" smtClean="0"/>
              <a:t> </a:t>
            </a:r>
            <a:r>
              <a:rPr lang="en-US" altLang="zh-TW" sz="1600" b="1" dirty="0"/>
              <a:t>system</a:t>
            </a:r>
            <a:endParaRPr lang="zh-TW" altLang="en-US" sz="1600" b="1" dirty="0"/>
          </a:p>
        </p:txBody>
      </p:sp>
      <p:grpSp>
        <p:nvGrpSpPr>
          <p:cNvPr id="15" name="群組 14"/>
          <p:cNvGrpSpPr/>
          <p:nvPr/>
        </p:nvGrpSpPr>
        <p:grpSpPr>
          <a:xfrm>
            <a:off x="5164310" y="1673917"/>
            <a:ext cx="3261086" cy="1355033"/>
            <a:chOff x="4987708" y="2043254"/>
            <a:chExt cx="3261086" cy="1355033"/>
          </a:xfrm>
        </p:grpSpPr>
        <p:sp>
          <p:nvSpPr>
            <p:cNvPr id="16" name="箭號: 燕尾形向右 23">
              <a:extLst>
                <a:ext uri="{FF2B5EF4-FFF2-40B4-BE49-F238E27FC236}">
                  <a16:creationId xmlns:a16="http://schemas.microsoft.com/office/drawing/2014/main" id="{DFFCE6BA-0CE2-44C6-8E88-02362A5A4C88}"/>
                </a:ext>
              </a:extLst>
            </p:cNvPr>
            <p:cNvSpPr/>
            <p:nvPr/>
          </p:nvSpPr>
          <p:spPr bwMode="auto">
            <a:xfrm>
              <a:off x="4987708" y="2935260"/>
              <a:ext cx="1742992" cy="201417"/>
            </a:xfrm>
            <a:prstGeom prst="notchedRightArrow">
              <a:avLst/>
            </a:prstGeom>
            <a:solidFill>
              <a:srgbClr val="FF0000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TW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sp>
          <p:nvSpPr>
            <p:cNvPr id="17" name="文字方塊 16">
              <a:extLst>
                <a:ext uri="{FF2B5EF4-FFF2-40B4-BE49-F238E27FC236}">
                  <a16:creationId xmlns:a16="http://schemas.microsoft.com/office/drawing/2014/main" id="{2DA90EE6-BFB4-42B3-8A96-F5B4664BBFE0}"/>
                </a:ext>
              </a:extLst>
            </p:cNvPr>
            <p:cNvSpPr txBox="1"/>
            <p:nvPr/>
          </p:nvSpPr>
          <p:spPr>
            <a:xfrm>
              <a:off x="6367265" y="2043254"/>
              <a:ext cx="188152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1600" b="1" dirty="0" smtClean="0"/>
                <a:t>Xxx plan</a:t>
              </a:r>
              <a:endParaRPr lang="zh-TW" altLang="en-US" sz="1600" b="1" dirty="0"/>
            </a:p>
          </p:txBody>
        </p:sp>
        <p:sp>
          <p:nvSpPr>
            <p:cNvPr id="18" name="文字方塊 17">
              <a:extLst>
                <a:ext uri="{FF2B5EF4-FFF2-40B4-BE49-F238E27FC236}">
                  <a16:creationId xmlns:a16="http://schemas.microsoft.com/office/drawing/2014/main" id="{3753F6F8-8C8D-4A51-B6B7-938797CBCD5A}"/>
                </a:ext>
              </a:extLst>
            </p:cNvPr>
            <p:cNvSpPr txBox="1"/>
            <p:nvPr/>
          </p:nvSpPr>
          <p:spPr>
            <a:xfrm>
              <a:off x="5335626" y="3136677"/>
              <a:ext cx="57579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TW" sz="1100" dirty="0" smtClean="0">
                  <a:solidFill>
                    <a:srgbClr val="FF0000"/>
                  </a:solidFill>
                </a:rPr>
                <a:t>output</a:t>
              </a:r>
              <a:endParaRPr lang="zh-TW" altLang="en-US" sz="110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9" name="群組 18"/>
          <p:cNvGrpSpPr/>
          <p:nvPr/>
        </p:nvGrpSpPr>
        <p:grpSpPr>
          <a:xfrm>
            <a:off x="3605602" y="3257550"/>
            <a:ext cx="1901011" cy="1274037"/>
            <a:chOff x="3429000" y="3638550"/>
            <a:chExt cx="1901011" cy="1274037"/>
          </a:xfrm>
        </p:grpSpPr>
        <p:sp>
          <p:nvSpPr>
            <p:cNvPr id="20" name="箭號: 向上 11">
              <a:extLst>
                <a:ext uri="{FF2B5EF4-FFF2-40B4-BE49-F238E27FC236}">
                  <a16:creationId xmlns:a16="http://schemas.microsoft.com/office/drawing/2014/main" id="{08BC1E9C-D05E-47BE-B9BE-AA6405342F57}"/>
                </a:ext>
              </a:extLst>
            </p:cNvPr>
            <p:cNvSpPr/>
            <p:nvPr/>
          </p:nvSpPr>
          <p:spPr bwMode="auto">
            <a:xfrm>
              <a:off x="3762942" y="3638550"/>
              <a:ext cx="152400" cy="369332"/>
            </a:xfrm>
            <a:prstGeom prst="upArrow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TW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sp>
          <p:nvSpPr>
            <p:cNvPr id="21" name="箭號: 向上 12">
              <a:extLst>
                <a:ext uri="{FF2B5EF4-FFF2-40B4-BE49-F238E27FC236}">
                  <a16:creationId xmlns:a16="http://schemas.microsoft.com/office/drawing/2014/main" id="{3A1C2FEF-D48E-4D0B-9847-A3EE6115DF01}"/>
                </a:ext>
              </a:extLst>
            </p:cNvPr>
            <p:cNvSpPr/>
            <p:nvPr/>
          </p:nvSpPr>
          <p:spPr bwMode="auto">
            <a:xfrm rot="10800000">
              <a:off x="4705866" y="3638550"/>
              <a:ext cx="152400" cy="369332"/>
            </a:xfrm>
            <a:prstGeom prst="upArrow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TW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pic>
          <p:nvPicPr>
            <p:cNvPr id="22" name="圖形 14" descr="清單">
              <a:extLst>
                <a:ext uri="{FF2B5EF4-FFF2-40B4-BE49-F238E27FC236}">
                  <a16:creationId xmlns:a16="http://schemas.microsoft.com/office/drawing/2014/main" id="{CD7AFB9A-307E-458D-9264-12CFFECABF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463377" y="4118404"/>
              <a:ext cx="599130" cy="599130"/>
            </a:xfrm>
            <a:prstGeom prst="rect">
              <a:avLst/>
            </a:prstGeom>
          </p:spPr>
        </p:pic>
        <p:pic>
          <p:nvPicPr>
            <p:cNvPr id="23" name="圖形 16" descr="清單 (從右至左)">
              <a:extLst>
                <a:ext uri="{FF2B5EF4-FFF2-40B4-BE49-F238E27FC236}">
                  <a16:creationId xmlns:a16="http://schemas.microsoft.com/office/drawing/2014/main" id="{4BEDB42B-FFEE-451E-ADB5-7B5471508B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4530177" y="4118404"/>
              <a:ext cx="599130" cy="599130"/>
            </a:xfrm>
            <a:prstGeom prst="rect">
              <a:avLst/>
            </a:prstGeom>
          </p:spPr>
        </p:pic>
        <p:sp>
          <p:nvSpPr>
            <p:cNvPr id="24" name="文字方塊 23">
              <a:extLst>
                <a:ext uri="{FF2B5EF4-FFF2-40B4-BE49-F238E27FC236}">
                  <a16:creationId xmlns:a16="http://schemas.microsoft.com/office/drawing/2014/main" id="{7C8EA1DD-F779-462C-805A-6073AD95F681}"/>
                </a:ext>
              </a:extLst>
            </p:cNvPr>
            <p:cNvSpPr txBox="1"/>
            <p:nvPr/>
          </p:nvSpPr>
          <p:spPr>
            <a:xfrm>
              <a:off x="3429000" y="4650977"/>
              <a:ext cx="63350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TW" sz="1100" dirty="0">
                  <a:solidFill>
                    <a:srgbClr val="00B0F0"/>
                  </a:solidFill>
                </a:rPr>
                <a:t>Upload</a:t>
              </a:r>
              <a:endParaRPr lang="zh-TW" altLang="en-US" sz="1100" dirty="0">
                <a:solidFill>
                  <a:srgbClr val="00B0F0"/>
                </a:solidFill>
              </a:endParaRPr>
            </a:p>
          </p:txBody>
        </p:sp>
        <p:sp>
          <p:nvSpPr>
            <p:cNvPr id="25" name="文字方塊 24">
              <a:extLst>
                <a:ext uri="{FF2B5EF4-FFF2-40B4-BE49-F238E27FC236}">
                  <a16:creationId xmlns:a16="http://schemas.microsoft.com/office/drawing/2014/main" id="{25A57BE0-A429-458B-A747-86BFD3693243}"/>
                </a:ext>
              </a:extLst>
            </p:cNvPr>
            <p:cNvSpPr txBox="1"/>
            <p:nvPr/>
          </p:nvSpPr>
          <p:spPr>
            <a:xfrm>
              <a:off x="4515364" y="4650977"/>
              <a:ext cx="81464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TW" sz="1100" dirty="0">
                  <a:solidFill>
                    <a:srgbClr val="00B050"/>
                  </a:solidFill>
                </a:rPr>
                <a:t>Download</a:t>
              </a:r>
              <a:endParaRPr lang="zh-TW" altLang="en-US" sz="1100" dirty="0">
                <a:solidFill>
                  <a:srgbClr val="00B050"/>
                </a:solidFill>
              </a:endParaRPr>
            </a:p>
          </p:txBody>
        </p:sp>
        <p:sp>
          <p:nvSpPr>
            <p:cNvPr id="26" name="箭號: 左-右雙向 26">
              <a:extLst>
                <a:ext uri="{FF2B5EF4-FFF2-40B4-BE49-F238E27FC236}">
                  <a16:creationId xmlns:a16="http://schemas.microsoft.com/office/drawing/2014/main" id="{A85CE305-9C45-4050-9D50-BDEBD9CB53B9}"/>
                </a:ext>
              </a:extLst>
            </p:cNvPr>
            <p:cNvSpPr/>
            <p:nvPr/>
          </p:nvSpPr>
          <p:spPr bwMode="auto">
            <a:xfrm>
              <a:off x="4029642" y="4299440"/>
              <a:ext cx="533400" cy="131574"/>
            </a:xfrm>
            <a:prstGeom prst="leftRightArrow">
              <a:avLst/>
            </a:prstGeom>
            <a:solidFill>
              <a:srgbClr val="FFC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TW" altLang="en-US" sz="800" b="0" i="0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/>
                <a:latin typeface="Arial" charset="0"/>
                <a:ea typeface="新細明體" charset="-120"/>
              </a:endParaRPr>
            </a:p>
          </p:txBody>
        </p:sp>
        <p:sp>
          <p:nvSpPr>
            <p:cNvPr id="27" name="文字方塊 26">
              <a:extLst>
                <a:ext uri="{FF2B5EF4-FFF2-40B4-BE49-F238E27FC236}">
                  <a16:creationId xmlns:a16="http://schemas.microsoft.com/office/drawing/2014/main" id="{0F6097D4-A0C1-4ED5-8F7F-5B229655DA4B}"/>
                </a:ext>
              </a:extLst>
            </p:cNvPr>
            <p:cNvSpPr txBox="1"/>
            <p:nvPr/>
          </p:nvSpPr>
          <p:spPr>
            <a:xfrm>
              <a:off x="3909427" y="4419444"/>
              <a:ext cx="76495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TW" sz="1100" dirty="0">
                  <a:solidFill>
                    <a:srgbClr val="FFC000"/>
                  </a:solidFill>
                </a:rPr>
                <a:t>Compare</a:t>
              </a:r>
              <a:endParaRPr lang="zh-TW" altLang="en-US" sz="1100" dirty="0">
                <a:solidFill>
                  <a:srgbClr val="FFC000"/>
                </a:solidFill>
              </a:endParaRPr>
            </a:p>
          </p:txBody>
        </p:sp>
      </p:grpSp>
      <p:grpSp>
        <p:nvGrpSpPr>
          <p:cNvPr id="28" name="群組 27"/>
          <p:cNvGrpSpPr/>
          <p:nvPr/>
        </p:nvGrpSpPr>
        <p:grpSpPr>
          <a:xfrm>
            <a:off x="6831099" y="2114550"/>
            <a:ext cx="1307068" cy="2308412"/>
            <a:chOff x="6654497" y="2483882"/>
            <a:chExt cx="1307068" cy="2308412"/>
          </a:xfrm>
        </p:grpSpPr>
        <p:pic>
          <p:nvPicPr>
            <p:cNvPr id="29" name="圖形 22" descr="月曆">
              <a:extLst>
                <a:ext uri="{FF2B5EF4-FFF2-40B4-BE49-F238E27FC236}">
                  <a16:creationId xmlns:a16="http://schemas.microsoft.com/office/drawing/2014/main" id="{B4E60DAA-A590-40EF-80AD-832CECD181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6654497" y="2483882"/>
              <a:ext cx="1307068" cy="1307068"/>
            </a:xfrm>
            <a:prstGeom prst="rect">
              <a:avLst/>
            </a:prstGeom>
          </p:spPr>
        </p:pic>
        <p:sp>
          <p:nvSpPr>
            <p:cNvPr id="30" name="流程圖: 替代程序 29">
              <a:extLst>
                <a:ext uri="{FF2B5EF4-FFF2-40B4-BE49-F238E27FC236}">
                  <a16:creationId xmlns:a16="http://schemas.microsoft.com/office/drawing/2014/main" id="{F3CDE074-3E58-47C9-906F-E21EB9C94652}"/>
                </a:ext>
              </a:extLst>
            </p:cNvPr>
            <p:cNvSpPr/>
            <p:nvPr/>
          </p:nvSpPr>
          <p:spPr bwMode="auto">
            <a:xfrm>
              <a:off x="6698431" y="4057196"/>
              <a:ext cx="1219200" cy="735098"/>
            </a:xfrm>
            <a:prstGeom prst="flowChartAlternateProcess">
              <a:avLst/>
            </a:prstGeom>
            <a:solidFill>
              <a:schemeClr val="accent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zh-TW" sz="1000" b="1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ea typeface="新細明體" charset="-120"/>
                </a:rPr>
                <a:t>xxxx</a:t>
              </a:r>
              <a:endParaRPr kumimoji="0" lang="zh-TW" altLang="en-US" sz="1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endParaRPr>
            </a:p>
          </p:txBody>
        </p:sp>
        <p:sp>
          <p:nvSpPr>
            <p:cNvPr id="31" name="箭號: 向上 29">
              <a:extLst>
                <a:ext uri="{FF2B5EF4-FFF2-40B4-BE49-F238E27FC236}">
                  <a16:creationId xmlns:a16="http://schemas.microsoft.com/office/drawing/2014/main" id="{0ADF9C41-B4CA-4B96-BDB9-8DC519AF00FE}"/>
                </a:ext>
              </a:extLst>
            </p:cNvPr>
            <p:cNvSpPr/>
            <p:nvPr/>
          </p:nvSpPr>
          <p:spPr bwMode="auto">
            <a:xfrm rot="10800000">
              <a:off x="7231831" y="3658177"/>
              <a:ext cx="152400" cy="369332"/>
            </a:xfrm>
            <a:prstGeom prst="upArrow">
              <a:avLst/>
            </a:prstGeom>
            <a:solidFill>
              <a:schemeClr val="accent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TW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新細明體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585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200" y="209550"/>
            <a:ext cx="7924800" cy="553998"/>
          </a:xfrm>
        </p:spPr>
        <p:txBody>
          <a:bodyPr/>
          <a:lstStyle/>
          <a:p>
            <a:r>
              <a:rPr lang="en-US" altLang="zh-TW" dirty="0"/>
              <a:t>Project’s investment and ROI 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5</a:t>
            </a:fld>
            <a:endParaRPr lang="en-US" altLang="zh-TW" dirty="0"/>
          </a:p>
        </p:txBody>
      </p:sp>
      <p:sp>
        <p:nvSpPr>
          <p:cNvPr id="32" name="文字方塊 31"/>
          <p:cNvSpPr txBox="1"/>
          <p:nvPr/>
        </p:nvSpPr>
        <p:spPr>
          <a:xfrm>
            <a:off x="304800" y="802622"/>
            <a:ext cx="8763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TW" sz="1200" dirty="0">
                <a:solidFill>
                  <a:srgbClr val="0070C0"/>
                </a:solidFill>
              </a:rPr>
              <a:t>Estimate working hours on </a:t>
            </a:r>
            <a:r>
              <a:rPr lang="en-US" altLang="zh-TW" sz="1200" dirty="0" smtClean="0">
                <a:solidFill>
                  <a:srgbClr val="0070C0"/>
                </a:solidFill>
              </a:rPr>
              <a:t>xxx project without </a:t>
            </a:r>
            <a:r>
              <a:rPr lang="en-US" altLang="zh-TW" sz="1200" dirty="0">
                <a:solidFill>
                  <a:srgbClr val="0070C0"/>
                </a:solidFill>
              </a:rPr>
              <a:t>system support: </a:t>
            </a:r>
            <a:r>
              <a:rPr lang="en-US" altLang="zh-TW" sz="1200" dirty="0" err="1" smtClean="0">
                <a:solidFill>
                  <a:srgbClr val="0000FF"/>
                </a:solidFill>
              </a:rPr>
              <a:t>xhours</a:t>
            </a:r>
            <a:r>
              <a:rPr lang="en-US" altLang="zh-TW" sz="1200" dirty="0" smtClean="0">
                <a:solidFill>
                  <a:srgbClr val="0000FF"/>
                </a:solidFill>
              </a:rPr>
              <a:t> </a:t>
            </a:r>
            <a:r>
              <a:rPr lang="en-US" altLang="zh-TW" sz="1200" dirty="0">
                <a:solidFill>
                  <a:srgbClr val="0070C0"/>
                </a:solidFill>
              </a:rPr>
              <a:t>* 52 weeks * </a:t>
            </a:r>
            <a:r>
              <a:rPr lang="en-US" altLang="zh-TW" sz="1200" dirty="0" smtClean="0">
                <a:solidFill>
                  <a:srgbClr val="0070C0"/>
                </a:solidFill>
              </a:rPr>
              <a:t>y </a:t>
            </a:r>
            <a:r>
              <a:rPr lang="en-US" altLang="zh-TW" sz="1200" dirty="0">
                <a:solidFill>
                  <a:srgbClr val="0070C0"/>
                </a:solidFill>
              </a:rPr>
              <a:t>projects = </a:t>
            </a:r>
            <a:r>
              <a:rPr lang="en-US" altLang="zh-TW" sz="1200" dirty="0" smtClean="0">
                <a:solidFill>
                  <a:srgbClr val="0070C0"/>
                </a:solidFill>
              </a:rPr>
              <a:t>result </a:t>
            </a:r>
            <a:r>
              <a:rPr lang="en-US" altLang="zh-TW" sz="1200" dirty="0">
                <a:solidFill>
                  <a:srgbClr val="0070C0"/>
                </a:solidFill>
              </a:rPr>
              <a:t>hours/year</a:t>
            </a:r>
          </a:p>
          <a:p>
            <a:pPr marL="228600" lvl="0" indent="-228600">
              <a:buFont typeface="+mj-lt"/>
              <a:buAutoNum type="arabicPeriod"/>
              <a:defRPr/>
            </a:pPr>
            <a:r>
              <a:rPr lang="en-US" altLang="zh-TW" sz="1200" dirty="0">
                <a:solidFill>
                  <a:srgbClr val="0070C0"/>
                </a:solidFill>
              </a:rPr>
              <a:t>Estimate working hours on xxx project </a:t>
            </a:r>
            <a:r>
              <a:rPr lang="en-US" altLang="zh-TW" sz="1200" dirty="0" smtClean="0">
                <a:solidFill>
                  <a:srgbClr val="0070C0"/>
                </a:solidFill>
              </a:rPr>
              <a:t>plan </a:t>
            </a:r>
            <a:r>
              <a:rPr lang="en-US" altLang="zh-TW" sz="1200" dirty="0">
                <a:solidFill>
                  <a:srgbClr val="0070C0"/>
                </a:solidFill>
              </a:rPr>
              <a:t>with system support: </a:t>
            </a:r>
            <a:r>
              <a:rPr lang="en-US" altLang="zh-TW" sz="1200" dirty="0">
                <a:solidFill>
                  <a:srgbClr val="0000FF"/>
                </a:solidFill>
              </a:rPr>
              <a:t>y</a:t>
            </a:r>
            <a:r>
              <a:rPr lang="en-US" altLang="zh-TW" sz="1200" dirty="0" smtClean="0">
                <a:solidFill>
                  <a:srgbClr val="0000FF"/>
                </a:solidFill>
              </a:rPr>
              <a:t> </a:t>
            </a:r>
            <a:r>
              <a:rPr lang="en-US" altLang="zh-TW" sz="1200" dirty="0">
                <a:solidFill>
                  <a:srgbClr val="0000FF"/>
                </a:solidFill>
              </a:rPr>
              <a:t>hours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TW" sz="1200" dirty="0">
                <a:solidFill>
                  <a:srgbClr val="0070C0"/>
                </a:solidFill>
              </a:rPr>
              <a:t>Estimate manpower on process discussion and system developing: </a:t>
            </a:r>
            <a:r>
              <a:rPr lang="en-US" altLang="zh-TW" sz="1200" dirty="0" smtClean="0">
                <a:solidFill>
                  <a:srgbClr val="0000FF"/>
                </a:solidFill>
              </a:rPr>
              <a:t>z </a:t>
            </a:r>
            <a:r>
              <a:rPr lang="en-US" altLang="zh-TW" sz="1200" dirty="0">
                <a:solidFill>
                  <a:srgbClr val="0000FF"/>
                </a:solidFill>
              </a:rPr>
              <a:t>hours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TW" sz="1200" dirty="0">
                <a:solidFill>
                  <a:srgbClr val="0070C0"/>
                </a:solidFill>
              </a:rPr>
              <a:t>Other benefit:</a:t>
            </a:r>
          </a:p>
          <a:p>
            <a:pPr marL="468000" lvl="1" indent="-228600">
              <a:buFont typeface="+mj-lt"/>
              <a:buAutoNum type="alphaUcPeriod"/>
              <a:defRPr/>
            </a:pPr>
            <a:r>
              <a:rPr lang="en-US" altLang="zh-TW" sz="1200" dirty="0">
                <a:solidFill>
                  <a:srgbClr val="0070C0"/>
                </a:solidFill>
              </a:rPr>
              <a:t>Improve materials plan efficiency and reduce human error</a:t>
            </a:r>
          </a:p>
          <a:p>
            <a:pPr marL="468000" lvl="1" indent="-228600">
              <a:buFont typeface="+mj-lt"/>
              <a:buAutoNum type="alphaUcPeriod"/>
              <a:defRPr/>
            </a:pPr>
            <a:r>
              <a:rPr lang="en-US" altLang="zh-TW" sz="1200" dirty="0">
                <a:solidFill>
                  <a:srgbClr val="0070C0"/>
                </a:solidFill>
              </a:rPr>
              <a:t>Enhance customer satisfaction with accuracy plan &amp; report</a:t>
            </a:r>
          </a:p>
          <a:p>
            <a:pPr marL="468000" lvl="1" indent="-228600">
              <a:buFont typeface="+mj-lt"/>
              <a:buAutoNum type="alphaUcPeriod"/>
              <a:defRPr/>
            </a:pPr>
            <a:endParaRPr lang="en-US" altLang="zh-TW" sz="1200" dirty="0">
              <a:solidFill>
                <a:srgbClr val="0070C0"/>
              </a:solidFill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altLang="zh-TW" sz="1200" dirty="0">
              <a:solidFill>
                <a:srgbClr val="0070C0"/>
              </a:solidFill>
            </a:endParaRPr>
          </a:p>
        </p:txBody>
      </p:sp>
      <p:graphicFrame>
        <p:nvGraphicFramePr>
          <p:cNvPr id="33" name="表格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561823"/>
              </p:ext>
            </p:extLst>
          </p:nvPr>
        </p:nvGraphicFramePr>
        <p:xfrm>
          <a:off x="304800" y="2824305"/>
          <a:ext cx="5486398" cy="205105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76272">
                  <a:extLst>
                    <a:ext uri="{9D8B030D-6E8A-4147-A177-3AD203B41FA5}">
                      <a16:colId xmlns:a16="http://schemas.microsoft.com/office/drawing/2014/main" val="4066065693"/>
                    </a:ext>
                  </a:extLst>
                </a:gridCol>
                <a:gridCol w="1167318">
                  <a:extLst>
                    <a:ext uri="{9D8B030D-6E8A-4147-A177-3AD203B41FA5}">
                      <a16:colId xmlns:a16="http://schemas.microsoft.com/office/drawing/2014/main" val="3576713250"/>
                    </a:ext>
                  </a:extLst>
                </a:gridCol>
                <a:gridCol w="680936">
                  <a:extLst>
                    <a:ext uri="{9D8B030D-6E8A-4147-A177-3AD203B41FA5}">
                      <a16:colId xmlns:a16="http://schemas.microsoft.com/office/drawing/2014/main" val="552002087"/>
                    </a:ext>
                  </a:extLst>
                </a:gridCol>
                <a:gridCol w="680936">
                  <a:extLst>
                    <a:ext uri="{9D8B030D-6E8A-4147-A177-3AD203B41FA5}">
                      <a16:colId xmlns:a16="http://schemas.microsoft.com/office/drawing/2014/main" val="4092942437"/>
                    </a:ext>
                  </a:extLst>
                </a:gridCol>
                <a:gridCol w="680936">
                  <a:extLst>
                    <a:ext uri="{9D8B030D-6E8A-4147-A177-3AD203B41FA5}">
                      <a16:colId xmlns:a16="http://schemas.microsoft.com/office/drawing/2014/main" val="1370364484"/>
                    </a:ext>
                  </a:extLst>
                </a:gridCol>
              </a:tblGrid>
              <a:tr h="286658">
                <a:tc rowSpan="2">
                  <a:txBody>
                    <a:bodyPr/>
                    <a:lstStyle/>
                    <a:p>
                      <a:r>
                        <a:rPr lang="en-US" altLang="zh-TW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Job Description</a:t>
                      </a:r>
                      <a:endParaRPr lang="zh-TW" altLang="en-US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altLang="zh-TW" sz="1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PIC</a:t>
                      </a:r>
                      <a:endParaRPr lang="zh-TW" altLang="en-US" sz="1000" b="0" i="0" u="none" strike="noStrike" kern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past</a:t>
                      </a:r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x1 efforts</a:t>
                      </a:r>
                    </a:p>
                  </a:txBody>
                  <a:tcPr marL="6350" marR="6350" marT="6350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Now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 project</a:t>
                      </a:r>
                      <a:endParaRPr lang="en-US" sz="1000" b="0" i="0" u="none" strike="noStrike" dirty="0" smtClean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</a:endParaRP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</a:rPr>
                        <a:t>x3 efforts</a:t>
                      </a:r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60787150"/>
                  </a:ext>
                </a:extLst>
              </a:tr>
              <a:tr h="146254">
                <a:tc vMerge="1">
                  <a:txBody>
                    <a:bodyPr/>
                    <a:lstStyle/>
                    <a:p>
                      <a:endParaRPr lang="zh-TW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l"/>
                      <a:endParaRPr lang="zh-TW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Wa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As-Is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To-Be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72943310"/>
                  </a:ext>
                </a:extLst>
              </a:tr>
              <a:tr h="146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Collect function team demand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F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844358895"/>
                  </a:ext>
                </a:extLst>
              </a:tr>
              <a:tr h="146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Check inventory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F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70621697"/>
                  </a:ext>
                </a:extLst>
              </a:tr>
              <a:tr h="146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Check material versio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F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945218550"/>
                  </a:ext>
                </a:extLst>
              </a:tr>
              <a:tr h="146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Check shortage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Q’t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F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0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02070999"/>
                  </a:ext>
                </a:extLst>
              </a:tr>
              <a:tr h="146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aintain RYG tabl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F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56310991"/>
                  </a:ext>
                </a:extLst>
              </a:tr>
              <a:tr h="146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Compare PDL change history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F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70834014"/>
                  </a:ext>
                </a:extLst>
              </a:tr>
              <a:tr h="28665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Cross check different project team test schedul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F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66774126"/>
                  </a:ext>
                </a:extLst>
              </a:tr>
              <a:tr h="146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Create Waterfall Plan by Excel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f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0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06390188"/>
                  </a:ext>
                </a:extLst>
              </a:tr>
              <a:tr h="146254"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</a:rPr>
                        <a:t>Sub-Total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TW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8</a:t>
                      </a:r>
                      <a:endParaRPr lang="en-US" altLang="zh-TW" sz="10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16</a:t>
                      </a:r>
                      <a:endParaRPr lang="en-US" altLang="zh-TW" sz="1000" b="0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515934"/>
                  </a:ext>
                </a:extLst>
              </a:tr>
            </a:tbl>
          </a:graphicData>
        </a:graphic>
      </p:graphicFrame>
      <p:sp>
        <p:nvSpPr>
          <p:cNvPr id="34" name="文字方塊 33"/>
          <p:cNvSpPr txBox="1"/>
          <p:nvPr/>
        </p:nvSpPr>
        <p:spPr>
          <a:xfrm>
            <a:off x="304800" y="2609091"/>
            <a:ext cx="109837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Unit hour/week)</a:t>
            </a:r>
            <a:endParaRPr lang="zh-TW" altLang="en-US" sz="800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F0FC06D1-9911-4C88-8466-00014701DC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9973952"/>
              </p:ext>
            </p:extLst>
          </p:nvPr>
        </p:nvGraphicFramePr>
        <p:xfrm>
          <a:off x="5943601" y="2824304"/>
          <a:ext cx="3124200" cy="1972486"/>
        </p:xfrm>
        <a:graphic>
          <a:graphicData uri="http://schemas.openxmlformats.org/drawingml/2006/table">
            <a:tbl>
              <a:tblPr firstRow="1" firstCol="1" bandRow="1"/>
              <a:tblGrid>
                <a:gridCol w="479394">
                  <a:extLst>
                    <a:ext uri="{9D8B030D-6E8A-4147-A177-3AD203B41FA5}">
                      <a16:colId xmlns:a16="http://schemas.microsoft.com/office/drawing/2014/main" val="3397772981"/>
                    </a:ext>
                  </a:extLst>
                </a:gridCol>
                <a:gridCol w="415168">
                  <a:extLst>
                    <a:ext uri="{9D8B030D-6E8A-4147-A177-3AD203B41FA5}">
                      <a16:colId xmlns:a16="http://schemas.microsoft.com/office/drawing/2014/main" val="461726778"/>
                    </a:ext>
                  </a:extLst>
                </a:gridCol>
                <a:gridCol w="412875">
                  <a:extLst>
                    <a:ext uri="{9D8B030D-6E8A-4147-A177-3AD203B41FA5}">
                      <a16:colId xmlns:a16="http://schemas.microsoft.com/office/drawing/2014/main" val="34220083"/>
                    </a:ext>
                  </a:extLst>
                </a:gridCol>
                <a:gridCol w="412875">
                  <a:extLst>
                    <a:ext uri="{9D8B030D-6E8A-4147-A177-3AD203B41FA5}">
                      <a16:colId xmlns:a16="http://schemas.microsoft.com/office/drawing/2014/main" val="3377559528"/>
                    </a:ext>
                  </a:extLst>
                </a:gridCol>
                <a:gridCol w="487209">
                  <a:extLst>
                    <a:ext uri="{9D8B030D-6E8A-4147-A177-3AD203B41FA5}">
                      <a16:colId xmlns:a16="http://schemas.microsoft.com/office/drawing/2014/main" val="1738138366"/>
                    </a:ext>
                  </a:extLst>
                </a:gridCol>
                <a:gridCol w="535678">
                  <a:extLst>
                    <a:ext uri="{9D8B030D-6E8A-4147-A177-3AD203B41FA5}">
                      <a16:colId xmlns:a16="http://schemas.microsoft.com/office/drawing/2014/main" val="494781093"/>
                    </a:ext>
                  </a:extLst>
                </a:gridCol>
                <a:gridCol w="381001">
                  <a:extLst>
                    <a:ext uri="{9D8B030D-6E8A-4147-A177-3AD203B41FA5}">
                      <a16:colId xmlns:a16="http://schemas.microsoft.com/office/drawing/2014/main" val="1124473848"/>
                    </a:ext>
                  </a:extLst>
                </a:gridCol>
              </a:tblGrid>
              <a:tr h="420695">
                <a:tc>
                  <a:txBody>
                    <a:bodyPr/>
                    <a:lstStyle/>
                    <a:p>
                      <a:endParaRPr lang="zh-TW" sz="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PM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PCC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DQMS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Function Team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TW" sz="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zh-TW" sz="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5731129"/>
                  </a:ext>
                </a:extLst>
              </a:tr>
              <a:tr h="56092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Phase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hrs</a:t>
                      </a:r>
                      <a:r>
                        <a:rPr lang="en-US" sz="9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/</a:t>
                      </a:r>
                      <a:r>
                        <a:rPr lang="en-US" sz="90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wk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hrs</a:t>
                      </a:r>
                      <a:r>
                        <a:rPr lang="en-US" sz="9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/</a:t>
                      </a:r>
                      <a:r>
                        <a:rPr lang="en-US" sz="90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wk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hrs</a:t>
                      </a:r>
                      <a:r>
                        <a:rPr lang="en-US" sz="9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/</a:t>
                      </a:r>
                      <a:r>
                        <a:rPr lang="en-US" sz="90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wk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hrs</a:t>
                      </a:r>
                      <a:r>
                        <a:rPr lang="en-US" sz="9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/</a:t>
                      </a:r>
                      <a:r>
                        <a:rPr lang="en-US" sz="90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wk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x duration</a:t>
                      </a:r>
                      <a:endParaRPr lang="zh-TW" sz="90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Total hours</a:t>
                      </a:r>
                      <a:endParaRPr lang="zh-TW" sz="90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05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5523905"/>
                  </a:ext>
                </a:extLst>
              </a:tr>
              <a:tr h="2804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Define</a:t>
                      </a:r>
                      <a:endParaRPr lang="zh-TW" sz="90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x12 weeks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altLang="zh-TW" sz="900" dirty="0" smtClean="0">
                          <a:effectLst/>
                          <a:latin typeface="Calibri" panose="020F0502020204030204" pitchFamily="34" charset="0"/>
                          <a:ea typeface="新細明體" panose="02020500000000000000" pitchFamily="18" charset="-120"/>
                        </a:rPr>
                        <a:t>X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5160323"/>
                  </a:ext>
                </a:extLst>
              </a:tr>
              <a:tr h="2804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Design</a:t>
                      </a:r>
                      <a:endParaRPr lang="zh-TW" sz="90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x12 weeks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altLang="zh-TW" sz="900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Y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9908296"/>
                  </a:ext>
                </a:extLst>
              </a:tr>
              <a:tr h="2804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Pilot run</a:t>
                      </a:r>
                      <a:endParaRPr lang="zh-TW" sz="90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x3 weeks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altLang="zh-TW" sz="900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Z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6262083"/>
                  </a:ext>
                </a:extLst>
              </a:tr>
              <a:tr h="149472">
                <a:tc>
                  <a:txBody>
                    <a:bodyPr/>
                    <a:lstStyle/>
                    <a:p>
                      <a:endParaRPr lang="zh-TW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zh-TW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zh-TW" sz="9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zh-TW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zh-TW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zh-TW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altLang="zh-TW" sz="900" dirty="0" err="1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新細明體" panose="02020500000000000000" pitchFamily="18" charset="-120"/>
                        </a:rPr>
                        <a:t>x+y+z</a:t>
                      </a:r>
                      <a:endParaRPr lang="zh-TW" sz="900" dirty="0">
                        <a:effectLst/>
                        <a:latin typeface="Calibri" panose="020F0502020204030204" pitchFamily="34" charset="0"/>
                        <a:ea typeface="新細明體" panose="02020500000000000000" pitchFamily="18" charset="-120"/>
                      </a:endParaRPr>
                    </a:p>
                  </a:txBody>
                  <a:tcPr marL="17780" marR="177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9515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944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8200" y="209550"/>
            <a:ext cx="7924800" cy="553998"/>
          </a:xfrm>
        </p:spPr>
        <p:txBody>
          <a:bodyPr/>
          <a:lstStyle/>
          <a:p>
            <a:r>
              <a:rPr lang="en-US" altLang="zh-TW" dirty="0"/>
              <a:t>Project’s Summary</a:t>
            </a:r>
            <a:endParaRPr lang="zh-TW" altLang="en-US" dirty="0"/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6</a:t>
            </a:fld>
            <a:endParaRPr lang="en-US" altLang="zh-TW" dirty="0"/>
          </a:p>
        </p:txBody>
      </p:sp>
      <p:graphicFrame>
        <p:nvGraphicFramePr>
          <p:cNvPr id="4" name="Group 366">
            <a:extLst>
              <a:ext uri="{FF2B5EF4-FFF2-40B4-BE49-F238E27FC236}">
                <a16:creationId xmlns:a16="http://schemas.microsoft.com/office/drawing/2014/main" id="{ED433438-C35B-421F-9376-EAC3EF6497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1326320"/>
              </p:ext>
            </p:extLst>
          </p:nvPr>
        </p:nvGraphicFramePr>
        <p:xfrm>
          <a:off x="152400" y="799550"/>
          <a:ext cx="8841651" cy="908312"/>
        </p:xfrm>
        <a:graphic>
          <a:graphicData uri="http://schemas.openxmlformats.org/drawingml/2006/table">
            <a:tbl>
              <a:tblPr/>
              <a:tblGrid>
                <a:gridCol w="88416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55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zh-TW" sz="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zh-TW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問題陳述</a:t>
                      </a:r>
                    </a:p>
                  </a:txBody>
                  <a:tcPr marL="91431" marR="91431" marT="45722" marB="4572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703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Server</a:t>
                      </a:r>
                      <a:r>
                        <a:rPr kumimoji="0" lang="zh-TW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產品所搭配的測試樣品多樣化且單價高，因此不管是在內部</a:t>
                      </a:r>
                      <a:r>
                        <a:rPr kumimoji="0" lang="zh-TW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或客戶</a:t>
                      </a:r>
                      <a:r>
                        <a:rPr kumimoji="0" lang="zh-TW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的要求上，測試樣品需要做到跨專案的高度</a:t>
                      </a:r>
                      <a:r>
                        <a:rPr kumimoji="0" lang="en-US" altLang="zh-TW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Leverage</a:t>
                      </a:r>
                      <a:r>
                        <a:rPr kumimoji="0" lang="zh-TW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，</a:t>
                      </a:r>
                      <a:r>
                        <a:rPr kumimoji="0" lang="zh-TW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使得</a:t>
                      </a:r>
                      <a:r>
                        <a:rPr kumimoji="0" lang="en-US" altLang="zh-TW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fn</a:t>
                      </a:r>
                      <a:r>
                        <a:rPr kumimoji="0" lang="zh-TW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在</a:t>
                      </a:r>
                      <a:r>
                        <a:rPr kumimoji="0" lang="zh-TW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與測試</a:t>
                      </a:r>
                      <a:r>
                        <a:rPr kumimoji="0" lang="en-US" altLang="zh-TW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team</a:t>
                      </a:r>
                      <a:r>
                        <a:rPr kumimoji="0" lang="zh-TW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調查測試需求量、測試時間與庫存比對花費許多時間與人力，並由人工計算排出</a:t>
                      </a:r>
                      <a:r>
                        <a:rPr kumimoji="0" lang="en-US" altLang="zh-TW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Waterfall plan</a:t>
                      </a:r>
                      <a:r>
                        <a:rPr kumimoji="0" lang="zh-TW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。因此希望在樣品的統計與計算上導入系統自動化，目的是</a:t>
                      </a:r>
                      <a:r>
                        <a:rPr kumimoji="0" lang="zh-TW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減少</a:t>
                      </a:r>
                      <a:r>
                        <a:rPr kumimoji="0" lang="en-US" altLang="zh-TW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fn</a:t>
                      </a:r>
                      <a:r>
                        <a:rPr kumimoji="0" lang="zh-TW" altLang="en-US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與</a:t>
                      </a:r>
                      <a:r>
                        <a:rPr kumimoji="0" lang="zh-TW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測試</a:t>
                      </a:r>
                      <a:r>
                        <a:rPr kumimoji="0" lang="en-US" altLang="zh-TW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team</a:t>
                      </a:r>
                      <a:r>
                        <a:rPr kumimoji="0" lang="zh-TW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溝通時間並加速與樣品需求統計流程。</a:t>
                      </a:r>
                      <a:endParaRPr kumimoji="0" lang="en-US" altLang="zh-TW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Arial" pitchFamily="34" charset="0"/>
                      </a:endParaRPr>
                    </a:p>
                  </a:txBody>
                  <a:tcPr marL="91431" marR="91431" marT="45722" marB="4572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" name="Group 1163">
            <a:extLst>
              <a:ext uri="{FF2B5EF4-FFF2-40B4-BE49-F238E27FC236}">
                <a16:creationId xmlns:a16="http://schemas.microsoft.com/office/drawing/2014/main" id="{6DC92794-7E27-42B3-97F1-4D4C4EBE4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4086573"/>
              </p:ext>
            </p:extLst>
          </p:nvPr>
        </p:nvGraphicFramePr>
        <p:xfrm>
          <a:off x="156812" y="3175551"/>
          <a:ext cx="4500001" cy="1682199"/>
        </p:xfrm>
        <a:graphic>
          <a:graphicData uri="http://schemas.openxmlformats.org/drawingml/2006/table">
            <a:tbl>
              <a:tblPr/>
              <a:tblGrid>
                <a:gridCol w="7998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33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33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33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9587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專案時程</a:t>
                      </a:r>
                      <a:endParaRPr kumimoji="0" lang="en-US" altLang="zh-TW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Arial" pitchFamily="34" charset="0"/>
                      </a:endParaRPr>
                    </a:p>
                  </a:txBody>
                  <a:tcPr marL="91431" marR="91431" marT="45712" marB="4571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54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Phase</a:t>
                      </a:r>
                    </a:p>
                  </a:txBody>
                  <a:tcPr marL="91431" marR="91431" marT="45712" marB="4571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Start Date</a:t>
                      </a: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End Date</a:t>
                      </a:r>
                    </a:p>
                  </a:txBody>
                  <a:tcPr marL="91431" marR="91431" marT="45712" marB="4571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Remark</a:t>
                      </a:r>
                    </a:p>
                  </a:txBody>
                  <a:tcPr marL="91431" marR="91431" marT="45712" marB="4571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54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Define</a:t>
                      </a:r>
                      <a:endParaRPr kumimoji="0" lang="zh-TW" altLang="en-US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20/1/1</a:t>
                      </a:r>
                      <a:endParaRPr kumimoji="0" lang="zh-TW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20/1/1</a:t>
                      </a:r>
                      <a:endParaRPr kumimoji="0" lang="zh-TW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On-going</a:t>
                      </a: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5483">
                <a:tc>
                  <a:txBody>
                    <a:bodyPr/>
                    <a:lstStyle/>
                    <a:p>
                      <a:pPr algn="l"/>
                      <a:r>
                        <a:rPr kumimoji="0" lang="en-US" altLang="zh-TW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Design</a:t>
                      </a:r>
                    </a:p>
                  </a:txBody>
                  <a:tcPr marL="91431" marR="91431" marT="45712" marB="45712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20/2/1</a:t>
                      </a:r>
                      <a:endParaRPr kumimoji="0" lang="zh-TW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20/2/1</a:t>
                      </a:r>
                      <a:endParaRPr kumimoji="0" lang="zh-TW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zh-TW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548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en-US" altLang="zh-TW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Polit run</a:t>
                      </a:r>
                    </a:p>
                  </a:txBody>
                  <a:tcPr marL="91431" marR="91431" marT="45712" marB="45712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20/3/1</a:t>
                      </a:r>
                      <a:endParaRPr kumimoji="0" lang="zh-TW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20/3/1</a:t>
                      </a:r>
                      <a:endParaRPr kumimoji="0" lang="zh-TW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zh-TW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548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en-US" altLang="zh-TW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Arial" pitchFamily="34" charset="0"/>
                        </a:rPr>
                        <a:t>Effective</a:t>
                      </a:r>
                    </a:p>
                  </a:txBody>
                  <a:tcPr marL="91431" marR="91431" marT="45712" marB="45712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altLang="zh-TW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20/4/1</a:t>
                      </a:r>
                      <a:endParaRPr kumimoji="0" lang="zh-TW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zh-TW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2020/4/1</a:t>
                      </a:r>
                      <a:endParaRPr kumimoji="0" lang="zh-TW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zh-TW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31" marR="91431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34BF6120-EB5B-434C-B8C3-1F9A8384F1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6787574"/>
              </p:ext>
            </p:extLst>
          </p:nvPr>
        </p:nvGraphicFramePr>
        <p:xfrm>
          <a:off x="156812" y="1783575"/>
          <a:ext cx="4500001" cy="1277143"/>
        </p:xfrm>
        <a:graphic>
          <a:graphicData uri="http://schemas.openxmlformats.org/drawingml/2006/table">
            <a:tbl>
              <a:tblPr/>
              <a:tblGrid>
                <a:gridCol w="1413793">
                  <a:extLst>
                    <a:ext uri="{9D8B030D-6E8A-4147-A177-3AD203B41FA5}">
                      <a16:colId xmlns:a16="http://schemas.microsoft.com/office/drawing/2014/main" val="2931278773"/>
                    </a:ext>
                  </a:extLst>
                </a:gridCol>
                <a:gridCol w="1543104">
                  <a:extLst>
                    <a:ext uri="{9D8B030D-6E8A-4147-A177-3AD203B41FA5}">
                      <a16:colId xmlns:a16="http://schemas.microsoft.com/office/drawing/2014/main" val="2224099104"/>
                    </a:ext>
                  </a:extLst>
                </a:gridCol>
                <a:gridCol w="1543104">
                  <a:extLst>
                    <a:ext uri="{9D8B030D-6E8A-4147-A177-3AD203B41FA5}">
                      <a16:colId xmlns:a16="http://schemas.microsoft.com/office/drawing/2014/main" val="2308056796"/>
                    </a:ext>
                  </a:extLst>
                </a:gridCol>
              </a:tblGrid>
              <a:tr h="228386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目標設定</a:t>
                      </a:r>
                    </a:p>
                  </a:txBody>
                  <a:tcPr marL="6350" marR="6350" marT="635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5332275"/>
                  </a:ext>
                </a:extLst>
              </a:tr>
              <a:tr h="1588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3366"/>
                          </a:solidFill>
                          <a:effectLst/>
                          <a:latin typeface="Arial" panose="020B0604020202020204" pitchFamily="34" charset="0"/>
                          <a:ea typeface="新細明體" panose="02020500000000000000" pitchFamily="18" charset="-120"/>
                        </a:rPr>
                        <a:t>Item</a:t>
                      </a:r>
                    </a:p>
                  </a:txBody>
                  <a:tcPr marL="6350" marR="6350" marT="635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100" b="1" i="0" u="none" strike="noStrike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預計改善前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100" b="1" i="0" u="none" strike="noStrike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預計改善後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5845659"/>
                  </a:ext>
                </a:extLst>
              </a:tr>
              <a:tr h="317654"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100" b="1" i="0" u="none" strike="noStrike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關鍵指標</a:t>
                      </a:r>
                      <a:r>
                        <a:rPr lang="en-US" altLang="zh-TW" sz="1100" b="1" i="0" u="none" strike="noStrike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project</a:t>
                      </a:r>
                      <a:endParaRPr lang="zh-TW" altLang="en-US" sz="1100" b="1" i="0" u="none" strike="noStrike" dirty="0">
                        <a:solidFill>
                          <a:srgbClr val="003366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6350" marR="6350" marT="635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100" b="0" i="0" u="none" strike="noStrike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  <a:r>
                        <a:rPr lang="en-US" altLang="zh-TW" sz="1100" b="0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x</a:t>
                      </a:r>
                      <a:r>
                        <a:rPr lang="en-US" altLang="zh-TW" sz="1100" b="0" i="0" u="none" strike="noStrike" baseline="0" dirty="0" smtClean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100" b="0" i="0" u="none" strike="noStrike" baseline="0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hours/week</a:t>
                      </a:r>
                      <a:endParaRPr lang="zh-TW" altLang="en-US" sz="1100" b="0" i="0" u="none" strike="noStrike" dirty="0">
                        <a:solidFill>
                          <a:srgbClr val="003366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100" b="0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y</a:t>
                      </a:r>
                      <a:r>
                        <a:rPr lang="zh-TW" altLang="en-US" sz="1100" b="0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100" b="0" i="0" u="none" strike="noStrike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hours/week</a:t>
                      </a:r>
                      <a:endParaRPr lang="zh-TW" altLang="en-US" sz="1100" b="0" i="0" u="none" strike="noStrike" dirty="0">
                        <a:solidFill>
                          <a:srgbClr val="003366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6133376"/>
                  </a:ext>
                </a:extLst>
              </a:tr>
              <a:tr h="535309"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100" b="1" i="0" u="none" strike="noStrike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預計年度效益</a:t>
                      </a:r>
                      <a:r>
                        <a:rPr lang="en-US" altLang="zh-TW" sz="1100" b="1" i="0" u="none" strike="noStrike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year</a:t>
                      </a:r>
                      <a:endParaRPr lang="zh-TW" altLang="en-US" sz="1100" b="1" i="0" u="none" strike="noStrike" dirty="0">
                        <a:solidFill>
                          <a:srgbClr val="003366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6350" marR="6350" marT="635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lvl="1"/>
                      <a:r>
                        <a:rPr lang="en-US" altLang="zh-TW" sz="11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x-y) </a:t>
                      </a:r>
                      <a:r>
                        <a:rPr lang="en-US" altLang="zh-TW" sz="1100" b="0" i="0" u="none" strike="noStrike" kern="1200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* </a:t>
                      </a:r>
                      <a:r>
                        <a:rPr lang="en-US" altLang="zh-TW" sz="11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x </a:t>
                      </a:r>
                      <a:r>
                        <a:rPr lang="en-US" altLang="zh-TW" sz="1100" b="0" i="0" u="none" strike="noStrike" kern="1200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* </a:t>
                      </a:r>
                      <a:r>
                        <a:rPr lang="en-US" altLang="zh-TW" sz="11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3=z </a:t>
                      </a:r>
                      <a:r>
                        <a:rPr lang="en-US" altLang="zh-TW" sz="1100" b="0" i="0" u="none" strike="noStrike" kern="1200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hours/year</a:t>
                      </a:r>
                    </a:p>
                    <a:p>
                      <a:pPr lvl="1"/>
                      <a:r>
                        <a:rPr lang="en-US" altLang="zh-TW" sz="11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z </a:t>
                      </a:r>
                      <a:r>
                        <a:rPr lang="en-US" altLang="zh-TW" sz="1100" b="0" i="0" u="none" strike="noStrike" kern="1200" dirty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* $568 = </a:t>
                      </a:r>
                      <a:r>
                        <a:rPr lang="en-US" altLang="zh-TW" sz="1100" b="0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result M/year</a:t>
                      </a:r>
                      <a:endParaRPr lang="zh-TW" altLang="en-US" sz="1100" b="0" i="0" u="none" strike="noStrike" kern="1200" dirty="0">
                        <a:solidFill>
                          <a:srgbClr val="003366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9336203"/>
                  </a:ext>
                </a:extLst>
              </a:tr>
            </a:tbl>
          </a:graphicData>
        </a:graphic>
      </p:graphicFrame>
      <p:graphicFrame>
        <p:nvGraphicFramePr>
          <p:cNvPr id="7" name="Group 379">
            <a:extLst>
              <a:ext uri="{FF2B5EF4-FFF2-40B4-BE49-F238E27FC236}">
                <a16:creationId xmlns:a16="http://schemas.microsoft.com/office/drawing/2014/main" id="{C44AEEF1-F648-43FE-AA38-2F566081D9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0692441"/>
              </p:ext>
            </p:extLst>
          </p:nvPr>
        </p:nvGraphicFramePr>
        <p:xfrm>
          <a:off x="4746051" y="1783575"/>
          <a:ext cx="4248000" cy="3068976"/>
        </p:xfrm>
        <a:graphic>
          <a:graphicData uri="http://schemas.openxmlformats.org/drawingml/2006/table">
            <a:tbl>
              <a:tblPr/>
              <a:tblGrid>
                <a:gridCol w="129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237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altLang="zh-TW" sz="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zh-TW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專案成員</a:t>
                      </a:r>
                      <a:endParaRPr kumimoji="0" lang="en-US" altLang="zh-TW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14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7396A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</a:rPr>
                        <a:t>Role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7396A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</a:rPr>
                        <a:t>Name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7396A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</a:rPr>
                        <a:t>Function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DB4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2416F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  <a:cs typeface="+mn-cs"/>
                        </a:rPr>
                        <a:t>Leader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2416F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  <a:cs typeface="+mn-cs"/>
                        </a:rPr>
                        <a:t>name</a:t>
                      </a: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22416F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  <a:cs typeface="+mn-cs"/>
                        </a:rPr>
                        <a:t>fn</a:t>
                      </a: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2416F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  <a:cs typeface="+mn-cs"/>
                        </a:rPr>
                        <a:t>Member</a:t>
                      </a:r>
                    </a:p>
                  </a:txBody>
                  <a:tcPr marL="9525" marR="9525" marT="9522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2416F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  <a:cs typeface="+mn-cs"/>
                        </a:rPr>
                        <a:t>name</a:t>
                      </a: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22416F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  <a:cs typeface="+mn-cs"/>
                        </a:rPr>
                        <a:t>fn</a:t>
                      </a: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2416F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  <a:cs typeface="+mn-cs"/>
                        </a:rPr>
                        <a:t>Member</a:t>
                      </a:r>
                    </a:p>
                  </a:txBody>
                  <a:tcPr marL="9525" marR="9525" marT="9522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2416F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  <a:cs typeface="+mn-cs"/>
                        </a:rPr>
                        <a:t>name</a:t>
                      </a: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22416F"/>
                          </a:solidFill>
                          <a:effectLst/>
                          <a:latin typeface="Arial" pitchFamily="34" charset="0"/>
                          <a:ea typeface="新細明體" pitchFamily="18" charset="-120"/>
                          <a:cs typeface="+mn-cs"/>
                        </a:rPr>
                        <a:t>fn</a:t>
                      </a: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78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2416F"/>
                        </a:solidFill>
                        <a:effectLst/>
                        <a:latin typeface="Arial" pitchFamily="34" charset="0"/>
                        <a:ea typeface="新細明體" pitchFamily="18" charset="-120"/>
                        <a:cs typeface="+mn-cs"/>
                      </a:endParaRPr>
                    </a:p>
                  </a:txBody>
                  <a:tcPr marL="9525" marR="9525" marT="9522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5277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C8AB57F-4F64-482A-AE8A-25024E18A3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270" y="1282319"/>
            <a:ext cx="8165360" cy="577209"/>
          </a:xfrm>
        </p:spPr>
        <p:txBody>
          <a:bodyPr/>
          <a:lstStyle/>
          <a:p>
            <a:r>
              <a:rPr lang="en-US" dirty="0"/>
              <a:t>Backu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EE3CA6-7617-4EC7-88CC-0BC48FD14FB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4908550"/>
            <a:ext cx="533400" cy="285750"/>
          </a:xfrm>
        </p:spPr>
        <p:txBody>
          <a:bodyPr/>
          <a:lstStyle/>
          <a:p>
            <a:pPr>
              <a:defRPr/>
            </a:pPr>
            <a:fld id="{7A6790E0-BEF4-4832-A75A-9EE1100ED3A6}" type="slidenum">
              <a:rPr lang="en-US" altLang="zh-TW" smtClean="0"/>
              <a:pPr>
                <a:defRPr/>
              </a:pPr>
              <a:t>7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36225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DIclIHRCayVKLsaRRY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huJcRsTJuDgzKSUDgj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DIclIHRCayVKLsaRRY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ITN_CF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46580"/>
        </a:dk2>
        <a:lt2>
          <a:srgbClr val="FFFFFF"/>
        </a:lt2>
        <a:accent1>
          <a:srgbClr val="BEE97A"/>
        </a:accent1>
        <a:accent2>
          <a:srgbClr val="7FC70B"/>
        </a:accent2>
        <a:accent3>
          <a:srgbClr val="00A199"/>
        </a:accent3>
        <a:accent4>
          <a:srgbClr val="046580"/>
        </a:accent4>
        <a:accent5>
          <a:srgbClr val="8B78B8"/>
        </a:accent5>
        <a:accent6>
          <a:srgbClr val="808080"/>
        </a:accent6>
        <a:hlink>
          <a:srgbClr val="00A199"/>
        </a:hlink>
        <a:folHlink>
          <a:srgbClr val="04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ITN_CF.potx" id="{85EAAC63-AE50-46F6-85AE-2AAC22EDEE60}" vid="{E47A8F2D-3E6E-437C-B6CE-37AF7C7D02C1}"/>
    </a:ext>
  </a:extLst>
</a:theme>
</file>

<file path=ppt/theme/theme2.xml><?xml version="1.0" encoding="utf-8"?>
<a:theme xmlns:a="http://schemas.openxmlformats.org/drawingml/2006/main" name="1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8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charset="-12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佈景主題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10BE234E8103478B938937DFFD9459" ma:contentTypeVersion="8" ma:contentTypeDescription="Create a new document." ma:contentTypeScope="" ma:versionID="707bc2d2593b291eb590d2e6ec7cbdb0">
  <xsd:schema xmlns:xsd="http://www.w3.org/2001/XMLSchema" xmlns:xs="http://www.w3.org/2001/XMLSchema" xmlns:p="http://schemas.microsoft.com/office/2006/metadata/properties" xmlns:ns3="9eec459f-c34a-4cde-b481-90dfc8bb70af" targetNamespace="http://schemas.microsoft.com/office/2006/metadata/properties" ma:root="true" ma:fieldsID="3fc93697e381a9b19934bb98284cd1cd" ns3:_="">
    <xsd:import namespace="9eec459f-c34a-4cde-b481-90dfc8bb70a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ec459f-c34a-4cde-b481-90dfc8bb70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EFBC198-6A2F-4725-B183-D8ED42FFAAE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A20602-E256-4102-967A-E61D0DEDA15E}">
  <ds:schemaRefs>
    <ds:schemaRef ds:uri="http://purl.org/dc/dcmitype/"/>
    <ds:schemaRef ds:uri="http://schemas.microsoft.com/office/infopath/2007/PartnerControls"/>
    <ds:schemaRef ds:uri="http://purl.org/dc/terms/"/>
    <ds:schemaRef ds:uri="http://schemas.microsoft.com/office/2006/documentManagement/types"/>
    <ds:schemaRef ds:uri="9eec459f-c34a-4cde-b481-90dfc8bb70af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692AE7B0-B6FC-41AF-B805-BB089D3A5F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ec459f-c34a-4cde-b481-90dfc8bb70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rayons</Template>
  <TotalTime>68552</TotalTime>
  <Words>557</Words>
  <Application>Microsoft Office PowerPoint</Application>
  <PresentationFormat>如螢幕大小 (16:9)</PresentationFormat>
  <Paragraphs>196</Paragraphs>
  <Slides>7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7</vt:i4>
      </vt:variant>
      <vt:variant>
        <vt:lpstr>佈景主題</vt:lpstr>
      </vt:variant>
      <vt:variant>
        <vt:i4>2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7</vt:i4>
      </vt:variant>
    </vt:vector>
  </HeadingPairs>
  <TitlesOfParts>
    <vt:vector size="17" baseType="lpstr">
      <vt:lpstr>Helvetica-Bold</vt:lpstr>
      <vt:lpstr>微軟正黑體</vt:lpstr>
      <vt:lpstr>新細明體</vt:lpstr>
      <vt:lpstr>Arial</vt:lpstr>
      <vt:lpstr>Calibri</vt:lpstr>
      <vt:lpstr>Tahoma</vt:lpstr>
      <vt:lpstr>Times New Roman</vt:lpstr>
      <vt:lpstr>WITN_CF</vt:lpstr>
      <vt:lpstr>1_Default Design</vt:lpstr>
      <vt:lpstr>think-cell Slide</vt:lpstr>
      <vt:lpstr>Systems architecture &amp;  Benefit assessment  of new requirement</vt:lpstr>
      <vt:lpstr>Base brief: Projects material management</vt:lpstr>
      <vt:lpstr>Process Comparison</vt:lpstr>
      <vt:lpstr>System Blueprint</vt:lpstr>
      <vt:lpstr>Project’s investment and ROI </vt:lpstr>
      <vt:lpstr>Project’s Summary</vt:lpstr>
      <vt:lpstr>Backup</vt:lpstr>
    </vt:vector>
  </TitlesOfParts>
  <Company>pi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erry</dc:creator>
  <cp:lastModifiedBy>Leo Tu/WHQ/Wistron</cp:lastModifiedBy>
  <cp:revision>1054</cp:revision>
  <cp:lastPrinted>2020-04-13T03:04:50Z</cp:lastPrinted>
  <dcterms:created xsi:type="dcterms:W3CDTF">2008-08-07T15:44:20Z</dcterms:created>
  <dcterms:modified xsi:type="dcterms:W3CDTF">2020-07-07T08:5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10BE234E8103478B938937DFFD9459</vt:lpwstr>
  </property>
</Properties>
</file>